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7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notesSlides/notesSlide8.xml" ContentType="application/vnd.openxmlformats-officedocument.presentationml.notesSlide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diagrams/data34.xml" ContentType="application/vnd.openxmlformats-officedocument.drawingml.diagramData+xml"/>
  <Override PartName="/ppt/diagrams/layout34.xml" ContentType="application/vnd.openxmlformats-officedocument.drawingml.diagramLayout+xml"/>
  <Override PartName="/ppt/diagrams/quickStyle34.xml" ContentType="application/vnd.openxmlformats-officedocument.drawingml.diagramStyle+xml"/>
  <Override PartName="/ppt/diagrams/colors34.xml" ContentType="application/vnd.openxmlformats-officedocument.drawingml.diagramColors+xml"/>
  <Override PartName="/ppt/diagrams/drawing34.xml" ContentType="application/vnd.ms-office.drawingml.diagramDrawing+xml"/>
  <Override PartName="/ppt/diagrams/data35.xml" ContentType="application/vnd.openxmlformats-officedocument.drawingml.diagramData+xml"/>
  <Override PartName="/ppt/diagrams/layout35.xml" ContentType="application/vnd.openxmlformats-officedocument.drawingml.diagramLayout+xml"/>
  <Override PartName="/ppt/diagrams/quickStyle35.xml" ContentType="application/vnd.openxmlformats-officedocument.drawingml.diagramStyle+xml"/>
  <Override PartName="/ppt/diagrams/colors35.xml" ContentType="application/vnd.openxmlformats-officedocument.drawingml.diagramColors+xml"/>
  <Override PartName="/ppt/diagrams/drawing35.xml" ContentType="application/vnd.ms-office.drawingml.diagramDrawing+xml"/>
  <Override PartName="/ppt/diagrams/data36.xml" ContentType="application/vnd.openxmlformats-officedocument.drawingml.diagramData+xml"/>
  <Override PartName="/ppt/diagrams/layout36.xml" ContentType="application/vnd.openxmlformats-officedocument.drawingml.diagramLayout+xml"/>
  <Override PartName="/ppt/diagrams/quickStyle36.xml" ContentType="application/vnd.openxmlformats-officedocument.drawingml.diagramStyle+xml"/>
  <Override PartName="/ppt/diagrams/colors36.xml" ContentType="application/vnd.openxmlformats-officedocument.drawingml.diagramColors+xml"/>
  <Override PartName="/ppt/diagrams/drawing36.xml" ContentType="application/vnd.ms-office.drawingml.diagramDrawing+xml"/>
  <Override PartName="/ppt/diagrams/data37.xml" ContentType="application/vnd.openxmlformats-officedocument.drawingml.diagramData+xml"/>
  <Override PartName="/ppt/diagrams/layout37.xml" ContentType="application/vnd.openxmlformats-officedocument.drawingml.diagramLayout+xml"/>
  <Override PartName="/ppt/diagrams/quickStyle37.xml" ContentType="application/vnd.openxmlformats-officedocument.drawingml.diagramStyle+xml"/>
  <Override PartName="/ppt/diagrams/colors37.xml" ContentType="application/vnd.openxmlformats-officedocument.drawingml.diagramColors+xml"/>
  <Override PartName="/ppt/diagrams/drawing37.xml" ContentType="application/vnd.ms-office.drawingml.diagramDrawing+xml"/>
  <Override PartName="/ppt/diagrams/data38.xml" ContentType="application/vnd.openxmlformats-officedocument.drawingml.diagramData+xml"/>
  <Override PartName="/ppt/diagrams/layout38.xml" ContentType="application/vnd.openxmlformats-officedocument.drawingml.diagramLayout+xml"/>
  <Override PartName="/ppt/diagrams/quickStyle38.xml" ContentType="application/vnd.openxmlformats-officedocument.drawingml.diagramStyle+xml"/>
  <Override PartName="/ppt/diagrams/colors38.xml" ContentType="application/vnd.openxmlformats-officedocument.drawingml.diagramColors+xml"/>
  <Override PartName="/ppt/diagrams/drawing38.xml" ContentType="application/vnd.ms-office.drawingml.diagramDrawing+xml"/>
  <Override PartName="/ppt/diagrams/data39.xml" ContentType="application/vnd.openxmlformats-officedocument.drawingml.diagramData+xml"/>
  <Override PartName="/ppt/diagrams/layout39.xml" ContentType="application/vnd.openxmlformats-officedocument.drawingml.diagramLayout+xml"/>
  <Override PartName="/ppt/diagrams/quickStyle39.xml" ContentType="application/vnd.openxmlformats-officedocument.drawingml.diagramStyle+xml"/>
  <Override PartName="/ppt/diagrams/colors39.xml" ContentType="application/vnd.openxmlformats-officedocument.drawingml.diagramColors+xml"/>
  <Override PartName="/ppt/diagrams/drawing39.xml" ContentType="application/vnd.ms-office.drawingml.diagramDrawing+xml"/>
  <Override PartName="/ppt/diagrams/data40.xml" ContentType="application/vnd.openxmlformats-officedocument.drawingml.diagramData+xml"/>
  <Override PartName="/ppt/diagrams/layout40.xml" ContentType="application/vnd.openxmlformats-officedocument.drawingml.diagramLayout+xml"/>
  <Override PartName="/ppt/diagrams/quickStyle40.xml" ContentType="application/vnd.openxmlformats-officedocument.drawingml.diagramStyle+xml"/>
  <Override PartName="/ppt/diagrams/colors40.xml" ContentType="application/vnd.openxmlformats-officedocument.drawingml.diagramColors+xml"/>
  <Override PartName="/ppt/diagrams/drawing40.xml" ContentType="application/vnd.ms-office.drawingml.diagramDrawing+xml"/>
  <Override PartName="/ppt/diagrams/data41.xml" ContentType="application/vnd.openxmlformats-officedocument.drawingml.diagramData+xml"/>
  <Override PartName="/ppt/diagrams/layout41.xml" ContentType="application/vnd.openxmlformats-officedocument.drawingml.diagramLayout+xml"/>
  <Override PartName="/ppt/diagrams/quickStyle41.xml" ContentType="application/vnd.openxmlformats-officedocument.drawingml.diagramStyle+xml"/>
  <Override PartName="/ppt/diagrams/colors41.xml" ContentType="application/vnd.openxmlformats-officedocument.drawingml.diagramColors+xml"/>
  <Override PartName="/ppt/diagrams/drawing41.xml" ContentType="application/vnd.ms-office.drawingml.diagramDrawing+xml"/>
  <Override PartName="/ppt/diagrams/data42.xml" ContentType="application/vnd.openxmlformats-officedocument.drawingml.diagramData+xml"/>
  <Override PartName="/ppt/diagrams/layout42.xml" ContentType="application/vnd.openxmlformats-officedocument.drawingml.diagramLayout+xml"/>
  <Override PartName="/ppt/diagrams/quickStyle42.xml" ContentType="application/vnd.openxmlformats-officedocument.drawingml.diagramStyle+xml"/>
  <Override PartName="/ppt/diagrams/colors42.xml" ContentType="application/vnd.openxmlformats-officedocument.drawingml.diagramColors+xml"/>
  <Override PartName="/ppt/diagrams/drawing42.xml" ContentType="application/vnd.ms-office.drawingml.diagramDrawing+xml"/>
  <Override PartName="/ppt/diagrams/data43.xml" ContentType="application/vnd.openxmlformats-officedocument.drawingml.diagramData+xml"/>
  <Override PartName="/ppt/diagrams/layout43.xml" ContentType="application/vnd.openxmlformats-officedocument.drawingml.diagramLayout+xml"/>
  <Override PartName="/ppt/diagrams/quickStyle43.xml" ContentType="application/vnd.openxmlformats-officedocument.drawingml.diagramStyle+xml"/>
  <Override PartName="/ppt/diagrams/colors43.xml" ContentType="application/vnd.openxmlformats-officedocument.drawingml.diagramColors+xml"/>
  <Override PartName="/ppt/diagrams/drawing43.xml" ContentType="application/vnd.ms-office.drawingml.diagramDrawing+xml"/>
  <Override PartName="/ppt/diagrams/data44.xml" ContentType="application/vnd.openxmlformats-officedocument.drawingml.diagramData+xml"/>
  <Override PartName="/ppt/diagrams/layout44.xml" ContentType="application/vnd.openxmlformats-officedocument.drawingml.diagramLayout+xml"/>
  <Override PartName="/ppt/diagrams/quickStyle44.xml" ContentType="application/vnd.openxmlformats-officedocument.drawingml.diagramStyle+xml"/>
  <Override PartName="/ppt/diagrams/colors44.xml" ContentType="application/vnd.openxmlformats-officedocument.drawingml.diagramColors+xml"/>
  <Override PartName="/ppt/diagrams/drawing44.xml" ContentType="application/vnd.ms-office.drawingml.diagramDrawing+xml"/>
  <Override PartName="/ppt/diagrams/data45.xml" ContentType="application/vnd.openxmlformats-officedocument.drawingml.diagramData+xml"/>
  <Override PartName="/ppt/diagrams/layout45.xml" ContentType="application/vnd.openxmlformats-officedocument.drawingml.diagramLayout+xml"/>
  <Override PartName="/ppt/diagrams/quickStyle45.xml" ContentType="application/vnd.openxmlformats-officedocument.drawingml.diagramStyle+xml"/>
  <Override PartName="/ppt/diagrams/colors45.xml" ContentType="application/vnd.openxmlformats-officedocument.drawingml.diagramColors+xml"/>
  <Override PartName="/ppt/diagrams/drawing45.xml" ContentType="application/vnd.ms-office.drawingml.diagramDrawing+xml"/>
  <Override PartName="/ppt/diagrams/data46.xml" ContentType="application/vnd.openxmlformats-officedocument.drawingml.diagramData+xml"/>
  <Override PartName="/ppt/diagrams/layout46.xml" ContentType="application/vnd.openxmlformats-officedocument.drawingml.diagramLayout+xml"/>
  <Override PartName="/ppt/diagrams/quickStyle46.xml" ContentType="application/vnd.openxmlformats-officedocument.drawingml.diagramStyle+xml"/>
  <Override PartName="/ppt/diagrams/colors46.xml" ContentType="application/vnd.openxmlformats-officedocument.drawingml.diagramColors+xml"/>
  <Override PartName="/ppt/diagrams/drawing46.xml" ContentType="application/vnd.ms-office.drawingml.diagramDrawing+xml"/>
  <Override PartName="/ppt/diagrams/data47.xml" ContentType="application/vnd.openxmlformats-officedocument.drawingml.diagramData+xml"/>
  <Override PartName="/ppt/diagrams/layout47.xml" ContentType="application/vnd.openxmlformats-officedocument.drawingml.diagramLayout+xml"/>
  <Override PartName="/ppt/diagrams/quickStyle47.xml" ContentType="application/vnd.openxmlformats-officedocument.drawingml.diagramStyle+xml"/>
  <Override PartName="/ppt/diagrams/colors47.xml" ContentType="application/vnd.openxmlformats-officedocument.drawingml.diagramColors+xml"/>
  <Override PartName="/ppt/diagrams/drawing47.xml" ContentType="application/vnd.ms-office.drawingml.diagramDrawing+xml"/>
  <Override PartName="/ppt/diagrams/data48.xml" ContentType="application/vnd.openxmlformats-officedocument.drawingml.diagramData+xml"/>
  <Override PartName="/ppt/diagrams/layout48.xml" ContentType="application/vnd.openxmlformats-officedocument.drawingml.diagramLayout+xml"/>
  <Override PartName="/ppt/diagrams/quickStyle48.xml" ContentType="application/vnd.openxmlformats-officedocument.drawingml.diagramStyle+xml"/>
  <Override PartName="/ppt/diagrams/colors48.xml" ContentType="application/vnd.openxmlformats-officedocument.drawingml.diagramColors+xml"/>
  <Override PartName="/ppt/diagrams/drawing48.xml" ContentType="application/vnd.ms-office.drawingml.diagramDrawing+xml"/>
  <Override PartName="/ppt/diagrams/data49.xml" ContentType="application/vnd.openxmlformats-officedocument.drawingml.diagramData+xml"/>
  <Override PartName="/ppt/diagrams/layout49.xml" ContentType="application/vnd.openxmlformats-officedocument.drawingml.diagramLayout+xml"/>
  <Override PartName="/ppt/diagrams/quickStyle49.xml" ContentType="application/vnd.openxmlformats-officedocument.drawingml.diagramStyle+xml"/>
  <Override PartName="/ppt/diagrams/colors49.xml" ContentType="application/vnd.openxmlformats-officedocument.drawingml.diagramColors+xml"/>
  <Override PartName="/ppt/diagrams/drawing49.xml" ContentType="application/vnd.ms-office.drawingml.diagramDrawing+xml"/>
  <Override PartName="/ppt/notesSlides/notesSlide9.xml" ContentType="application/vnd.openxmlformats-officedocument.presentationml.notesSlide+xml"/>
  <Override PartName="/ppt/diagrams/data50.xml" ContentType="application/vnd.openxmlformats-officedocument.drawingml.diagramData+xml"/>
  <Override PartName="/ppt/diagrams/layout50.xml" ContentType="application/vnd.openxmlformats-officedocument.drawingml.diagramLayout+xml"/>
  <Override PartName="/ppt/diagrams/quickStyle50.xml" ContentType="application/vnd.openxmlformats-officedocument.drawingml.diagramStyle+xml"/>
  <Override PartName="/ppt/diagrams/colors50.xml" ContentType="application/vnd.openxmlformats-officedocument.drawingml.diagramColors+xml"/>
  <Override PartName="/ppt/diagrams/drawing50.xml" ContentType="application/vnd.ms-office.drawingml.diagramDrawing+xml"/>
  <Override PartName="/ppt/diagrams/data51.xml" ContentType="application/vnd.openxmlformats-officedocument.drawingml.diagramData+xml"/>
  <Override PartName="/ppt/diagrams/layout51.xml" ContentType="application/vnd.openxmlformats-officedocument.drawingml.diagramLayout+xml"/>
  <Override PartName="/ppt/diagrams/quickStyle51.xml" ContentType="application/vnd.openxmlformats-officedocument.drawingml.diagramStyle+xml"/>
  <Override PartName="/ppt/diagrams/colors51.xml" ContentType="application/vnd.openxmlformats-officedocument.drawingml.diagramColors+xml"/>
  <Override PartName="/ppt/diagrams/drawing51.xml" ContentType="application/vnd.ms-office.drawingml.diagramDrawing+xml"/>
  <Override PartName="/ppt/diagrams/data52.xml" ContentType="application/vnd.openxmlformats-officedocument.drawingml.diagramData+xml"/>
  <Override PartName="/ppt/diagrams/layout52.xml" ContentType="application/vnd.openxmlformats-officedocument.drawingml.diagramLayout+xml"/>
  <Override PartName="/ppt/diagrams/quickStyle52.xml" ContentType="application/vnd.openxmlformats-officedocument.drawingml.diagramStyle+xml"/>
  <Override PartName="/ppt/diagrams/colors52.xml" ContentType="application/vnd.openxmlformats-officedocument.drawingml.diagramColors+xml"/>
  <Override PartName="/ppt/diagrams/drawing52.xml" ContentType="application/vnd.ms-office.drawingml.diagramDrawing+xml"/>
  <Override PartName="/ppt/diagrams/data53.xml" ContentType="application/vnd.openxmlformats-officedocument.drawingml.diagramData+xml"/>
  <Override PartName="/ppt/diagrams/layout53.xml" ContentType="application/vnd.openxmlformats-officedocument.drawingml.diagramLayout+xml"/>
  <Override PartName="/ppt/diagrams/quickStyle53.xml" ContentType="application/vnd.openxmlformats-officedocument.drawingml.diagramStyle+xml"/>
  <Override PartName="/ppt/diagrams/colors53.xml" ContentType="application/vnd.openxmlformats-officedocument.drawingml.diagramColors+xml"/>
  <Override PartName="/ppt/diagrams/drawing53.xml" ContentType="application/vnd.ms-office.drawingml.diagramDrawing+xml"/>
  <Override PartName="/ppt/diagrams/data54.xml" ContentType="application/vnd.openxmlformats-officedocument.drawingml.diagramData+xml"/>
  <Override PartName="/ppt/diagrams/layout54.xml" ContentType="application/vnd.openxmlformats-officedocument.drawingml.diagramLayout+xml"/>
  <Override PartName="/ppt/diagrams/quickStyle54.xml" ContentType="application/vnd.openxmlformats-officedocument.drawingml.diagramStyle+xml"/>
  <Override PartName="/ppt/diagrams/colors54.xml" ContentType="application/vnd.openxmlformats-officedocument.drawingml.diagramColors+xml"/>
  <Override PartName="/ppt/diagrams/drawing54.xml" ContentType="application/vnd.ms-office.drawingml.diagramDrawing+xml"/>
  <Override PartName="/ppt/diagrams/data55.xml" ContentType="application/vnd.openxmlformats-officedocument.drawingml.diagramData+xml"/>
  <Override PartName="/ppt/diagrams/layout55.xml" ContentType="application/vnd.openxmlformats-officedocument.drawingml.diagramLayout+xml"/>
  <Override PartName="/ppt/diagrams/quickStyle55.xml" ContentType="application/vnd.openxmlformats-officedocument.drawingml.diagramStyle+xml"/>
  <Override PartName="/ppt/diagrams/colors55.xml" ContentType="application/vnd.openxmlformats-officedocument.drawingml.diagramColors+xml"/>
  <Override PartName="/ppt/diagrams/drawing55.xml" ContentType="application/vnd.ms-office.drawingml.diagramDrawing+xml"/>
  <Override PartName="/ppt/diagrams/data56.xml" ContentType="application/vnd.openxmlformats-officedocument.drawingml.diagramData+xml"/>
  <Override PartName="/ppt/diagrams/layout56.xml" ContentType="application/vnd.openxmlformats-officedocument.drawingml.diagramLayout+xml"/>
  <Override PartName="/ppt/diagrams/quickStyle56.xml" ContentType="application/vnd.openxmlformats-officedocument.drawingml.diagramStyle+xml"/>
  <Override PartName="/ppt/diagrams/colors56.xml" ContentType="application/vnd.openxmlformats-officedocument.drawingml.diagramColors+xml"/>
  <Override PartName="/ppt/diagrams/drawing56.xml" ContentType="application/vnd.ms-office.drawingml.diagramDrawing+xml"/>
  <Override PartName="/ppt/diagrams/data57.xml" ContentType="application/vnd.openxmlformats-officedocument.drawingml.diagramData+xml"/>
  <Override PartName="/ppt/diagrams/layout57.xml" ContentType="application/vnd.openxmlformats-officedocument.drawingml.diagramLayout+xml"/>
  <Override PartName="/ppt/diagrams/quickStyle57.xml" ContentType="application/vnd.openxmlformats-officedocument.drawingml.diagramStyle+xml"/>
  <Override PartName="/ppt/diagrams/colors57.xml" ContentType="application/vnd.openxmlformats-officedocument.drawingml.diagramColors+xml"/>
  <Override PartName="/ppt/diagrams/drawing57.xml" ContentType="application/vnd.ms-office.drawingml.diagramDrawing+xml"/>
  <Override PartName="/ppt/diagrams/data58.xml" ContentType="application/vnd.openxmlformats-officedocument.drawingml.diagramData+xml"/>
  <Override PartName="/ppt/diagrams/layout58.xml" ContentType="application/vnd.openxmlformats-officedocument.drawingml.diagramLayout+xml"/>
  <Override PartName="/ppt/diagrams/quickStyle58.xml" ContentType="application/vnd.openxmlformats-officedocument.drawingml.diagramStyle+xml"/>
  <Override PartName="/ppt/diagrams/colors58.xml" ContentType="application/vnd.openxmlformats-officedocument.drawingml.diagramColors+xml"/>
  <Override PartName="/ppt/diagrams/drawing58.xml" ContentType="application/vnd.ms-office.drawingml.diagramDrawing+xml"/>
  <Override PartName="/ppt/diagrams/data59.xml" ContentType="application/vnd.openxmlformats-officedocument.drawingml.diagramData+xml"/>
  <Override PartName="/ppt/diagrams/layout59.xml" ContentType="application/vnd.openxmlformats-officedocument.drawingml.diagramLayout+xml"/>
  <Override PartName="/ppt/diagrams/quickStyle59.xml" ContentType="application/vnd.openxmlformats-officedocument.drawingml.diagramStyle+xml"/>
  <Override PartName="/ppt/diagrams/colors59.xml" ContentType="application/vnd.openxmlformats-officedocument.drawingml.diagramColors+xml"/>
  <Override PartName="/ppt/diagrams/drawing59.xml" ContentType="application/vnd.ms-office.drawingml.diagramDrawing+xml"/>
  <Override PartName="/ppt/notesSlides/notesSlide10.xml" ContentType="application/vnd.openxmlformats-officedocument.presentationml.notesSlide+xml"/>
  <Override PartName="/ppt/diagrams/data60.xml" ContentType="application/vnd.openxmlformats-officedocument.drawingml.diagramData+xml"/>
  <Override PartName="/ppt/diagrams/layout60.xml" ContentType="application/vnd.openxmlformats-officedocument.drawingml.diagramLayout+xml"/>
  <Override PartName="/ppt/diagrams/quickStyle60.xml" ContentType="application/vnd.openxmlformats-officedocument.drawingml.diagramStyle+xml"/>
  <Override PartName="/ppt/diagrams/colors60.xml" ContentType="application/vnd.openxmlformats-officedocument.drawingml.diagramColors+xml"/>
  <Override PartName="/ppt/diagrams/drawing60.xml" ContentType="application/vnd.ms-office.drawingml.diagramDrawing+xml"/>
  <Override PartName="/ppt/diagrams/data61.xml" ContentType="application/vnd.openxmlformats-officedocument.drawingml.diagramData+xml"/>
  <Override PartName="/ppt/diagrams/layout61.xml" ContentType="application/vnd.openxmlformats-officedocument.drawingml.diagramLayout+xml"/>
  <Override PartName="/ppt/diagrams/quickStyle61.xml" ContentType="application/vnd.openxmlformats-officedocument.drawingml.diagramStyle+xml"/>
  <Override PartName="/ppt/diagrams/colors61.xml" ContentType="application/vnd.openxmlformats-officedocument.drawingml.diagramColors+xml"/>
  <Override PartName="/ppt/diagrams/drawing61.xml" ContentType="application/vnd.ms-office.drawingml.diagramDrawing+xml"/>
  <Override PartName="/ppt/diagrams/data62.xml" ContentType="application/vnd.openxmlformats-officedocument.drawingml.diagramData+xml"/>
  <Override PartName="/ppt/diagrams/layout62.xml" ContentType="application/vnd.openxmlformats-officedocument.drawingml.diagramLayout+xml"/>
  <Override PartName="/ppt/diagrams/quickStyle62.xml" ContentType="application/vnd.openxmlformats-officedocument.drawingml.diagramStyle+xml"/>
  <Override PartName="/ppt/diagrams/colors62.xml" ContentType="application/vnd.openxmlformats-officedocument.drawingml.diagramColors+xml"/>
  <Override PartName="/ppt/diagrams/drawing62.xml" ContentType="application/vnd.ms-office.drawingml.diagramDrawing+xml"/>
  <Override PartName="/ppt/diagrams/data63.xml" ContentType="application/vnd.openxmlformats-officedocument.drawingml.diagramData+xml"/>
  <Override PartName="/ppt/diagrams/layout63.xml" ContentType="application/vnd.openxmlformats-officedocument.drawingml.diagramLayout+xml"/>
  <Override PartName="/ppt/diagrams/quickStyle63.xml" ContentType="application/vnd.openxmlformats-officedocument.drawingml.diagramStyle+xml"/>
  <Override PartName="/ppt/diagrams/colors63.xml" ContentType="application/vnd.openxmlformats-officedocument.drawingml.diagramColors+xml"/>
  <Override PartName="/ppt/diagrams/drawing63.xml" ContentType="application/vnd.ms-office.drawingml.diagramDrawing+xml"/>
  <Override PartName="/ppt/diagrams/data64.xml" ContentType="application/vnd.openxmlformats-officedocument.drawingml.diagramData+xml"/>
  <Override PartName="/ppt/diagrams/layout64.xml" ContentType="application/vnd.openxmlformats-officedocument.drawingml.diagramLayout+xml"/>
  <Override PartName="/ppt/diagrams/quickStyle64.xml" ContentType="application/vnd.openxmlformats-officedocument.drawingml.diagramStyle+xml"/>
  <Override PartName="/ppt/diagrams/colors64.xml" ContentType="application/vnd.openxmlformats-officedocument.drawingml.diagramColors+xml"/>
  <Override PartName="/ppt/diagrams/drawing64.xml" ContentType="application/vnd.ms-office.drawingml.diagramDrawing+xml"/>
  <Override PartName="/ppt/diagrams/data65.xml" ContentType="application/vnd.openxmlformats-officedocument.drawingml.diagramData+xml"/>
  <Override PartName="/ppt/diagrams/layout65.xml" ContentType="application/vnd.openxmlformats-officedocument.drawingml.diagramLayout+xml"/>
  <Override PartName="/ppt/diagrams/quickStyle65.xml" ContentType="application/vnd.openxmlformats-officedocument.drawingml.diagramStyle+xml"/>
  <Override PartName="/ppt/diagrams/colors65.xml" ContentType="application/vnd.openxmlformats-officedocument.drawingml.diagramColors+xml"/>
  <Override PartName="/ppt/diagrams/drawing65.xml" ContentType="application/vnd.ms-office.drawingml.diagramDrawing+xml"/>
  <Override PartName="/ppt/diagrams/data66.xml" ContentType="application/vnd.openxmlformats-officedocument.drawingml.diagramData+xml"/>
  <Override PartName="/ppt/diagrams/layout66.xml" ContentType="application/vnd.openxmlformats-officedocument.drawingml.diagramLayout+xml"/>
  <Override PartName="/ppt/diagrams/quickStyle66.xml" ContentType="application/vnd.openxmlformats-officedocument.drawingml.diagramStyle+xml"/>
  <Override PartName="/ppt/diagrams/colors66.xml" ContentType="application/vnd.openxmlformats-officedocument.drawingml.diagramColors+xml"/>
  <Override PartName="/ppt/diagrams/drawing66.xml" ContentType="application/vnd.ms-office.drawingml.diagramDrawing+xml"/>
  <Override PartName="/ppt/diagrams/data67.xml" ContentType="application/vnd.openxmlformats-officedocument.drawingml.diagramData+xml"/>
  <Override PartName="/ppt/diagrams/layout67.xml" ContentType="application/vnd.openxmlformats-officedocument.drawingml.diagramLayout+xml"/>
  <Override PartName="/ppt/diagrams/quickStyle67.xml" ContentType="application/vnd.openxmlformats-officedocument.drawingml.diagramStyle+xml"/>
  <Override PartName="/ppt/diagrams/colors67.xml" ContentType="application/vnd.openxmlformats-officedocument.drawingml.diagramColors+xml"/>
  <Override PartName="/ppt/diagrams/drawing67.xml" ContentType="application/vnd.ms-office.drawingml.diagramDrawing+xml"/>
  <Override PartName="/ppt/diagrams/data68.xml" ContentType="application/vnd.openxmlformats-officedocument.drawingml.diagramData+xml"/>
  <Override PartName="/ppt/diagrams/layout68.xml" ContentType="application/vnd.openxmlformats-officedocument.drawingml.diagramLayout+xml"/>
  <Override PartName="/ppt/diagrams/quickStyle68.xml" ContentType="application/vnd.openxmlformats-officedocument.drawingml.diagramStyle+xml"/>
  <Override PartName="/ppt/diagrams/colors68.xml" ContentType="application/vnd.openxmlformats-officedocument.drawingml.diagramColors+xml"/>
  <Override PartName="/ppt/diagrams/drawing68.xml" ContentType="application/vnd.ms-office.drawingml.diagramDrawing+xml"/>
  <Override PartName="/ppt/diagrams/data69.xml" ContentType="application/vnd.openxmlformats-officedocument.drawingml.diagramData+xml"/>
  <Override PartName="/ppt/diagrams/layout69.xml" ContentType="application/vnd.openxmlformats-officedocument.drawingml.diagramLayout+xml"/>
  <Override PartName="/ppt/diagrams/quickStyle69.xml" ContentType="application/vnd.openxmlformats-officedocument.drawingml.diagramStyle+xml"/>
  <Override PartName="/ppt/diagrams/colors69.xml" ContentType="application/vnd.openxmlformats-officedocument.drawingml.diagramColors+xml"/>
  <Override PartName="/ppt/diagrams/drawing69.xml" ContentType="application/vnd.ms-office.drawingml.diagramDrawing+xml"/>
  <Override PartName="/ppt/diagrams/data70.xml" ContentType="application/vnd.openxmlformats-officedocument.drawingml.diagramData+xml"/>
  <Override PartName="/ppt/diagrams/layout70.xml" ContentType="application/vnd.openxmlformats-officedocument.drawingml.diagramLayout+xml"/>
  <Override PartName="/ppt/diagrams/quickStyle70.xml" ContentType="application/vnd.openxmlformats-officedocument.drawingml.diagramStyle+xml"/>
  <Override PartName="/ppt/diagrams/colors70.xml" ContentType="application/vnd.openxmlformats-officedocument.drawingml.diagramColors+xml"/>
  <Override PartName="/ppt/diagrams/drawing70.xml" ContentType="application/vnd.ms-office.drawingml.diagramDrawing+xml"/>
  <Override PartName="/ppt/diagrams/data71.xml" ContentType="application/vnd.openxmlformats-officedocument.drawingml.diagramData+xml"/>
  <Override PartName="/ppt/diagrams/layout71.xml" ContentType="application/vnd.openxmlformats-officedocument.drawingml.diagramLayout+xml"/>
  <Override PartName="/ppt/diagrams/quickStyle71.xml" ContentType="application/vnd.openxmlformats-officedocument.drawingml.diagramStyle+xml"/>
  <Override PartName="/ppt/diagrams/colors71.xml" ContentType="application/vnd.openxmlformats-officedocument.drawingml.diagramColors+xml"/>
  <Override PartName="/ppt/diagrams/drawing71.xml" ContentType="application/vnd.ms-office.drawingml.diagramDrawing+xml"/>
  <Override PartName="/ppt/diagrams/data72.xml" ContentType="application/vnd.openxmlformats-officedocument.drawingml.diagramData+xml"/>
  <Override PartName="/ppt/diagrams/layout72.xml" ContentType="application/vnd.openxmlformats-officedocument.drawingml.diagramLayout+xml"/>
  <Override PartName="/ppt/diagrams/quickStyle72.xml" ContentType="application/vnd.openxmlformats-officedocument.drawingml.diagramStyle+xml"/>
  <Override PartName="/ppt/diagrams/colors72.xml" ContentType="application/vnd.openxmlformats-officedocument.drawingml.diagramColors+xml"/>
  <Override PartName="/ppt/diagrams/drawing72.xml" ContentType="application/vnd.ms-office.drawingml.diagramDrawing+xml"/>
  <Override PartName="/ppt/diagrams/data73.xml" ContentType="application/vnd.openxmlformats-officedocument.drawingml.diagramData+xml"/>
  <Override PartName="/ppt/diagrams/layout73.xml" ContentType="application/vnd.openxmlformats-officedocument.drawingml.diagramLayout+xml"/>
  <Override PartName="/ppt/diagrams/quickStyle73.xml" ContentType="application/vnd.openxmlformats-officedocument.drawingml.diagramStyle+xml"/>
  <Override PartName="/ppt/diagrams/colors73.xml" ContentType="application/vnd.openxmlformats-officedocument.drawingml.diagramColors+xml"/>
  <Override PartName="/ppt/diagrams/drawing73.xml" ContentType="application/vnd.ms-office.drawingml.diagramDrawing+xml"/>
  <Override PartName="/ppt/notesSlides/notesSlide11.xml" ContentType="application/vnd.openxmlformats-officedocument.presentationml.notesSlide+xml"/>
  <Override PartName="/ppt/diagrams/data74.xml" ContentType="application/vnd.openxmlformats-officedocument.drawingml.diagramData+xml"/>
  <Override PartName="/ppt/diagrams/layout74.xml" ContentType="application/vnd.openxmlformats-officedocument.drawingml.diagramLayout+xml"/>
  <Override PartName="/ppt/diagrams/quickStyle74.xml" ContentType="application/vnd.openxmlformats-officedocument.drawingml.diagramStyle+xml"/>
  <Override PartName="/ppt/diagrams/colors74.xml" ContentType="application/vnd.openxmlformats-officedocument.drawingml.diagramColors+xml"/>
  <Override PartName="/ppt/diagrams/drawing74.xml" ContentType="application/vnd.ms-office.drawingml.diagramDrawing+xml"/>
  <Override PartName="/ppt/diagrams/data75.xml" ContentType="application/vnd.openxmlformats-officedocument.drawingml.diagramData+xml"/>
  <Override PartName="/ppt/diagrams/layout75.xml" ContentType="application/vnd.openxmlformats-officedocument.drawingml.diagramLayout+xml"/>
  <Override PartName="/ppt/diagrams/quickStyle75.xml" ContentType="application/vnd.openxmlformats-officedocument.drawingml.diagramStyle+xml"/>
  <Override PartName="/ppt/diagrams/colors75.xml" ContentType="application/vnd.openxmlformats-officedocument.drawingml.diagramColors+xml"/>
  <Override PartName="/ppt/diagrams/drawing75.xml" ContentType="application/vnd.ms-office.drawingml.diagramDrawing+xml"/>
  <Override PartName="/ppt/diagrams/data76.xml" ContentType="application/vnd.openxmlformats-officedocument.drawingml.diagramData+xml"/>
  <Override PartName="/ppt/diagrams/layout76.xml" ContentType="application/vnd.openxmlformats-officedocument.drawingml.diagramLayout+xml"/>
  <Override PartName="/ppt/diagrams/quickStyle76.xml" ContentType="application/vnd.openxmlformats-officedocument.drawingml.diagramStyle+xml"/>
  <Override PartName="/ppt/diagrams/colors76.xml" ContentType="application/vnd.openxmlformats-officedocument.drawingml.diagramColors+xml"/>
  <Override PartName="/ppt/diagrams/drawing76.xml" ContentType="application/vnd.ms-office.drawingml.diagramDrawing+xml"/>
  <Override PartName="/ppt/diagrams/data77.xml" ContentType="application/vnd.openxmlformats-officedocument.drawingml.diagramData+xml"/>
  <Override PartName="/ppt/diagrams/layout77.xml" ContentType="application/vnd.openxmlformats-officedocument.drawingml.diagramLayout+xml"/>
  <Override PartName="/ppt/diagrams/quickStyle77.xml" ContentType="application/vnd.openxmlformats-officedocument.drawingml.diagramStyle+xml"/>
  <Override PartName="/ppt/diagrams/colors77.xml" ContentType="application/vnd.openxmlformats-officedocument.drawingml.diagramColors+xml"/>
  <Override PartName="/ppt/diagrams/drawing77.xml" ContentType="application/vnd.ms-office.drawingml.diagramDrawing+xml"/>
  <Override PartName="/ppt/diagrams/data78.xml" ContentType="application/vnd.openxmlformats-officedocument.drawingml.diagramData+xml"/>
  <Override PartName="/ppt/diagrams/layout78.xml" ContentType="application/vnd.openxmlformats-officedocument.drawingml.diagramLayout+xml"/>
  <Override PartName="/ppt/diagrams/quickStyle78.xml" ContentType="application/vnd.openxmlformats-officedocument.drawingml.diagramStyle+xml"/>
  <Override PartName="/ppt/diagrams/colors78.xml" ContentType="application/vnd.openxmlformats-officedocument.drawingml.diagramColors+xml"/>
  <Override PartName="/ppt/diagrams/drawing78.xml" ContentType="application/vnd.ms-office.drawingml.diagramDrawing+xml"/>
  <Override PartName="/ppt/diagrams/data79.xml" ContentType="application/vnd.openxmlformats-officedocument.drawingml.diagramData+xml"/>
  <Override PartName="/ppt/diagrams/layout79.xml" ContentType="application/vnd.openxmlformats-officedocument.drawingml.diagramLayout+xml"/>
  <Override PartName="/ppt/diagrams/quickStyle79.xml" ContentType="application/vnd.openxmlformats-officedocument.drawingml.diagramStyle+xml"/>
  <Override PartName="/ppt/diagrams/colors79.xml" ContentType="application/vnd.openxmlformats-officedocument.drawingml.diagramColors+xml"/>
  <Override PartName="/ppt/diagrams/drawing79.xml" ContentType="application/vnd.ms-office.drawingml.diagramDrawing+xml"/>
  <Override PartName="/ppt/diagrams/data80.xml" ContentType="application/vnd.openxmlformats-officedocument.drawingml.diagramData+xml"/>
  <Override PartName="/ppt/diagrams/layout80.xml" ContentType="application/vnd.openxmlformats-officedocument.drawingml.diagramLayout+xml"/>
  <Override PartName="/ppt/diagrams/quickStyle80.xml" ContentType="application/vnd.openxmlformats-officedocument.drawingml.diagramStyle+xml"/>
  <Override PartName="/ppt/diagrams/colors80.xml" ContentType="application/vnd.openxmlformats-officedocument.drawingml.diagramColors+xml"/>
  <Override PartName="/ppt/diagrams/drawing80.xml" ContentType="application/vnd.ms-office.drawingml.diagramDrawing+xml"/>
  <Override PartName="/ppt/diagrams/data81.xml" ContentType="application/vnd.openxmlformats-officedocument.drawingml.diagramData+xml"/>
  <Override PartName="/ppt/diagrams/layout81.xml" ContentType="application/vnd.openxmlformats-officedocument.drawingml.diagramLayout+xml"/>
  <Override PartName="/ppt/diagrams/quickStyle81.xml" ContentType="application/vnd.openxmlformats-officedocument.drawingml.diagramStyle+xml"/>
  <Override PartName="/ppt/diagrams/colors81.xml" ContentType="application/vnd.openxmlformats-officedocument.drawingml.diagramColors+xml"/>
  <Override PartName="/ppt/diagrams/drawing81.xml" ContentType="application/vnd.ms-office.drawingml.diagramDrawing+xml"/>
  <Override PartName="/ppt/diagrams/data82.xml" ContentType="application/vnd.openxmlformats-officedocument.drawingml.diagramData+xml"/>
  <Override PartName="/ppt/diagrams/layout82.xml" ContentType="application/vnd.openxmlformats-officedocument.drawingml.diagramLayout+xml"/>
  <Override PartName="/ppt/diagrams/quickStyle82.xml" ContentType="application/vnd.openxmlformats-officedocument.drawingml.diagramStyle+xml"/>
  <Override PartName="/ppt/diagrams/colors82.xml" ContentType="application/vnd.openxmlformats-officedocument.drawingml.diagramColors+xml"/>
  <Override PartName="/ppt/diagrams/drawing82.xml" ContentType="application/vnd.ms-office.drawingml.diagramDrawing+xml"/>
  <Override PartName="/ppt/diagrams/data83.xml" ContentType="application/vnd.openxmlformats-officedocument.drawingml.diagramData+xml"/>
  <Override PartName="/ppt/diagrams/layout83.xml" ContentType="application/vnd.openxmlformats-officedocument.drawingml.diagramLayout+xml"/>
  <Override PartName="/ppt/diagrams/quickStyle83.xml" ContentType="application/vnd.openxmlformats-officedocument.drawingml.diagramStyle+xml"/>
  <Override PartName="/ppt/diagrams/colors83.xml" ContentType="application/vnd.openxmlformats-officedocument.drawingml.diagramColors+xml"/>
  <Override PartName="/ppt/diagrams/drawing83.xml" ContentType="application/vnd.ms-office.drawingml.diagramDrawing+xml"/>
  <Override PartName="/ppt/diagrams/data84.xml" ContentType="application/vnd.openxmlformats-officedocument.drawingml.diagramData+xml"/>
  <Override PartName="/ppt/diagrams/layout84.xml" ContentType="application/vnd.openxmlformats-officedocument.drawingml.diagramLayout+xml"/>
  <Override PartName="/ppt/diagrams/quickStyle84.xml" ContentType="application/vnd.openxmlformats-officedocument.drawingml.diagramStyle+xml"/>
  <Override PartName="/ppt/diagrams/colors84.xml" ContentType="application/vnd.openxmlformats-officedocument.drawingml.diagramColors+xml"/>
  <Override PartName="/ppt/diagrams/drawing84.xml" ContentType="application/vnd.ms-office.drawingml.diagramDrawing+xml"/>
  <Override PartName="/ppt/diagrams/data85.xml" ContentType="application/vnd.openxmlformats-officedocument.drawingml.diagramData+xml"/>
  <Override PartName="/ppt/diagrams/layout85.xml" ContentType="application/vnd.openxmlformats-officedocument.drawingml.diagramLayout+xml"/>
  <Override PartName="/ppt/diagrams/quickStyle85.xml" ContentType="application/vnd.openxmlformats-officedocument.drawingml.diagramStyle+xml"/>
  <Override PartName="/ppt/diagrams/colors85.xml" ContentType="application/vnd.openxmlformats-officedocument.drawingml.diagramColors+xml"/>
  <Override PartName="/ppt/diagrams/drawing85.xml" ContentType="application/vnd.ms-office.drawingml.diagramDrawing+xml"/>
  <Override PartName="/ppt/diagrams/data86.xml" ContentType="application/vnd.openxmlformats-officedocument.drawingml.diagramData+xml"/>
  <Override PartName="/ppt/diagrams/layout86.xml" ContentType="application/vnd.openxmlformats-officedocument.drawingml.diagramLayout+xml"/>
  <Override PartName="/ppt/diagrams/quickStyle86.xml" ContentType="application/vnd.openxmlformats-officedocument.drawingml.diagramStyle+xml"/>
  <Override PartName="/ppt/diagrams/colors86.xml" ContentType="application/vnd.openxmlformats-officedocument.drawingml.diagramColors+xml"/>
  <Override PartName="/ppt/diagrams/drawing86.xml" ContentType="application/vnd.ms-office.drawingml.diagramDrawing+xml"/>
  <Override PartName="/ppt/diagrams/data87.xml" ContentType="application/vnd.openxmlformats-officedocument.drawingml.diagramData+xml"/>
  <Override PartName="/ppt/diagrams/layout87.xml" ContentType="application/vnd.openxmlformats-officedocument.drawingml.diagramLayout+xml"/>
  <Override PartName="/ppt/diagrams/quickStyle87.xml" ContentType="application/vnd.openxmlformats-officedocument.drawingml.diagramStyle+xml"/>
  <Override PartName="/ppt/diagrams/colors87.xml" ContentType="application/vnd.openxmlformats-officedocument.drawingml.diagramColors+xml"/>
  <Override PartName="/ppt/diagrams/drawing87.xml" ContentType="application/vnd.ms-office.drawingml.diagramDrawing+xml"/>
  <Override PartName="/ppt/notesSlides/notesSlide12.xml" ContentType="application/vnd.openxmlformats-officedocument.presentationml.notesSlide+xml"/>
  <Override PartName="/ppt/diagrams/data88.xml" ContentType="application/vnd.openxmlformats-officedocument.drawingml.diagramData+xml"/>
  <Override PartName="/ppt/diagrams/layout88.xml" ContentType="application/vnd.openxmlformats-officedocument.drawingml.diagramLayout+xml"/>
  <Override PartName="/ppt/diagrams/quickStyle88.xml" ContentType="application/vnd.openxmlformats-officedocument.drawingml.diagramStyle+xml"/>
  <Override PartName="/ppt/diagrams/colors88.xml" ContentType="application/vnd.openxmlformats-officedocument.drawingml.diagramColors+xml"/>
  <Override PartName="/ppt/diagrams/drawing88.xml" ContentType="application/vnd.ms-office.drawingml.diagramDrawing+xml"/>
  <Override PartName="/ppt/diagrams/data89.xml" ContentType="application/vnd.openxmlformats-officedocument.drawingml.diagramData+xml"/>
  <Override PartName="/ppt/diagrams/layout89.xml" ContentType="application/vnd.openxmlformats-officedocument.drawingml.diagramLayout+xml"/>
  <Override PartName="/ppt/diagrams/quickStyle89.xml" ContentType="application/vnd.openxmlformats-officedocument.drawingml.diagramStyle+xml"/>
  <Override PartName="/ppt/diagrams/colors89.xml" ContentType="application/vnd.openxmlformats-officedocument.drawingml.diagramColors+xml"/>
  <Override PartName="/ppt/diagrams/drawing89.xml" ContentType="application/vnd.ms-office.drawingml.diagramDrawing+xml"/>
  <Override PartName="/ppt/diagrams/data90.xml" ContentType="application/vnd.openxmlformats-officedocument.drawingml.diagramData+xml"/>
  <Override PartName="/ppt/diagrams/layout90.xml" ContentType="application/vnd.openxmlformats-officedocument.drawingml.diagramLayout+xml"/>
  <Override PartName="/ppt/diagrams/quickStyle90.xml" ContentType="application/vnd.openxmlformats-officedocument.drawingml.diagramStyle+xml"/>
  <Override PartName="/ppt/diagrams/colors90.xml" ContentType="application/vnd.openxmlformats-officedocument.drawingml.diagramColors+xml"/>
  <Override PartName="/ppt/diagrams/drawing90.xml" ContentType="application/vnd.ms-office.drawingml.diagramDrawing+xml"/>
  <Override PartName="/ppt/diagrams/data91.xml" ContentType="application/vnd.openxmlformats-officedocument.drawingml.diagramData+xml"/>
  <Override PartName="/ppt/diagrams/layout91.xml" ContentType="application/vnd.openxmlformats-officedocument.drawingml.diagramLayout+xml"/>
  <Override PartName="/ppt/diagrams/quickStyle91.xml" ContentType="application/vnd.openxmlformats-officedocument.drawingml.diagramStyle+xml"/>
  <Override PartName="/ppt/diagrams/colors91.xml" ContentType="application/vnd.openxmlformats-officedocument.drawingml.diagramColors+xml"/>
  <Override PartName="/ppt/diagrams/drawing91.xml" ContentType="application/vnd.ms-office.drawingml.diagramDrawing+xml"/>
  <Override PartName="/ppt/diagrams/data92.xml" ContentType="application/vnd.openxmlformats-officedocument.drawingml.diagramData+xml"/>
  <Override PartName="/ppt/diagrams/layout92.xml" ContentType="application/vnd.openxmlformats-officedocument.drawingml.diagramLayout+xml"/>
  <Override PartName="/ppt/diagrams/quickStyle92.xml" ContentType="application/vnd.openxmlformats-officedocument.drawingml.diagramStyle+xml"/>
  <Override PartName="/ppt/diagrams/colors92.xml" ContentType="application/vnd.openxmlformats-officedocument.drawingml.diagramColors+xml"/>
  <Override PartName="/ppt/diagrams/drawing92.xml" ContentType="application/vnd.ms-office.drawingml.diagramDrawing+xml"/>
  <Override PartName="/ppt/notesSlides/notesSlide13.xml" ContentType="application/vnd.openxmlformats-officedocument.presentationml.notesSlide+xml"/>
  <Override PartName="/ppt/diagrams/data93.xml" ContentType="application/vnd.openxmlformats-officedocument.drawingml.diagramData+xml"/>
  <Override PartName="/ppt/diagrams/layout93.xml" ContentType="application/vnd.openxmlformats-officedocument.drawingml.diagramLayout+xml"/>
  <Override PartName="/ppt/diagrams/quickStyle93.xml" ContentType="application/vnd.openxmlformats-officedocument.drawingml.diagramStyle+xml"/>
  <Override PartName="/ppt/diagrams/colors93.xml" ContentType="application/vnd.openxmlformats-officedocument.drawingml.diagramColors+xml"/>
  <Override PartName="/ppt/diagrams/drawing93.xml" ContentType="application/vnd.ms-office.drawingml.diagramDrawing+xml"/>
  <Override PartName="/ppt/diagrams/data94.xml" ContentType="application/vnd.openxmlformats-officedocument.drawingml.diagramData+xml"/>
  <Override PartName="/ppt/diagrams/layout94.xml" ContentType="application/vnd.openxmlformats-officedocument.drawingml.diagramLayout+xml"/>
  <Override PartName="/ppt/diagrams/quickStyle94.xml" ContentType="application/vnd.openxmlformats-officedocument.drawingml.diagramStyle+xml"/>
  <Override PartName="/ppt/diagrams/colors94.xml" ContentType="application/vnd.openxmlformats-officedocument.drawingml.diagramColors+xml"/>
  <Override PartName="/ppt/diagrams/drawing94.xml" ContentType="application/vnd.ms-office.drawingml.diagramDrawing+xml"/>
  <Override PartName="/ppt/diagrams/data95.xml" ContentType="application/vnd.openxmlformats-officedocument.drawingml.diagramData+xml"/>
  <Override PartName="/ppt/diagrams/layout95.xml" ContentType="application/vnd.openxmlformats-officedocument.drawingml.diagramLayout+xml"/>
  <Override PartName="/ppt/diagrams/quickStyle95.xml" ContentType="application/vnd.openxmlformats-officedocument.drawingml.diagramStyle+xml"/>
  <Override PartName="/ppt/diagrams/colors95.xml" ContentType="application/vnd.openxmlformats-officedocument.drawingml.diagramColors+xml"/>
  <Override PartName="/ppt/diagrams/drawing95.xml" ContentType="application/vnd.ms-office.drawingml.diagramDrawing+xml"/>
  <Override PartName="/ppt/diagrams/data96.xml" ContentType="application/vnd.openxmlformats-officedocument.drawingml.diagramData+xml"/>
  <Override PartName="/ppt/diagrams/layout96.xml" ContentType="application/vnd.openxmlformats-officedocument.drawingml.diagramLayout+xml"/>
  <Override PartName="/ppt/diagrams/quickStyle96.xml" ContentType="application/vnd.openxmlformats-officedocument.drawingml.diagramStyle+xml"/>
  <Override PartName="/ppt/diagrams/colors96.xml" ContentType="application/vnd.openxmlformats-officedocument.drawingml.diagramColors+xml"/>
  <Override PartName="/ppt/diagrams/drawing96.xml" ContentType="application/vnd.ms-office.drawingml.diagramDrawing+xml"/>
  <Override PartName="/ppt/diagrams/data97.xml" ContentType="application/vnd.openxmlformats-officedocument.drawingml.diagramData+xml"/>
  <Override PartName="/ppt/diagrams/layout97.xml" ContentType="application/vnd.openxmlformats-officedocument.drawingml.diagramLayout+xml"/>
  <Override PartName="/ppt/diagrams/quickStyle97.xml" ContentType="application/vnd.openxmlformats-officedocument.drawingml.diagramStyle+xml"/>
  <Override PartName="/ppt/diagrams/colors97.xml" ContentType="application/vnd.openxmlformats-officedocument.drawingml.diagramColors+xml"/>
  <Override PartName="/ppt/diagrams/drawing97.xml" ContentType="application/vnd.ms-office.drawingml.diagramDrawing+xml"/>
  <Override PartName="/ppt/diagrams/data98.xml" ContentType="application/vnd.openxmlformats-officedocument.drawingml.diagramData+xml"/>
  <Override PartName="/ppt/diagrams/layout98.xml" ContentType="application/vnd.openxmlformats-officedocument.drawingml.diagramLayout+xml"/>
  <Override PartName="/ppt/diagrams/quickStyle98.xml" ContentType="application/vnd.openxmlformats-officedocument.drawingml.diagramStyle+xml"/>
  <Override PartName="/ppt/diagrams/colors98.xml" ContentType="application/vnd.openxmlformats-officedocument.drawingml.diagramColors+xml"/>
  <Override PartName="/ppt/diagrams/drawing98.xml" ContentType="application/vnd.ms-office.drawingml.diagramDrawing+xml"/>
  <Override PartName="/ppt/diagrams/data99.xml" ContentType="application/vnd.openxmlformats-officedocument.drawingml.diagramData+xml"/>
  <Override PartName="/ppt/diagrams/layout99.xml" ContentType="application/vnd.openxmlformats-officedocument.drawingml.diagramLayout+xml"/>
  <Override PartName="/ppt/diagrams/quickStyle99.xml" ContentType="application/vnd.openxmlformats-officedocument.drawingml.diagramStyle+xml"/>
  <Override PartName="/ppt/diagrams/colors99.xml" ContentType="application/vnd.openxmlformats-officedocument.drawingml.diagramColors+xml"/>
  <Override PartName="/ppt/diagrams/drawing99.xml" ContentType="application/vnd.ms-office.drawingml.diagramDrawing+xml"/>
  <Override PartName="/ppt/diagrams/data100.xml" ContentType="application/vnd.openxmlformats-officedocument.drawingml.diagramData+xml"/>
  <Override PartName="/ppt/diagrams/layout100.xml" ContentType="application/vnd.openxmlformats-officedocument.drawingml.diagramLayout+xml"/>
  <Override PartName="/ppt/diagrams/quickStyle100.xml" ContentType="application/vnd.openxmlformats-officedocument.drawingml.diagramStyle+xml"/>
  <Override PartName="/ppt/diagrams/colors100.xml" ContentType="application/vnd.openxmlformats-officedocument.drawingml.diagramColors+xml"/>
  <Override PartName="/ppt/diagrams/drawing100.xml" ContentType="application/vnd.ms-office.drawingml.diagramDrawing+xml"/>
  <Override PartName="/ppt/diagrams/data101.xml" ContentType="application/vnd.openxmlformats-officedocument.drawingml.diagramData+xml"/>
  <Override PartName="/ppt/diagrams/layout101.xml" ContentType="application/vnd.openxmlformats-officedocument.drawingml.diagramLayout+xml"/>
  <Override PartName="/ppt/diagrams/quickStyle101.xml" ContentType="application/vnd.openxmlformats-officedocument.drawingml.diagramStyle+xml"/>
  <Override PartName="/ppt/diagrams/colors101.xml" ContentType="application/vnd.openxmlformats-officedocument.drawingml.diagramColors+xml"/>
  <Override PartName="/ppt/diagrams/drawing101.xml" ContentType="application/vnd.ms-office.drawingml.diagramDrawing+xml"/>
  <Override PartName="/ppt/diagrams/data102.xml" ContentType="application/vnd.openxmlformats-officedocument.drawingml.diagramData+xml"/>
  <Override PartName="/ppt/diagrams/layout102.xml" ContentType="application/vnd.openxmlformats-officedocument.drawingml.diagramLayout+xml"/>
  <Override PartName="/ppt/diagrams/quickStyle102.xml" ContentType="application/vnd.openxmlformats-officedocument.drawingml.diagramStyle+xml"/>
  <Override PartName="/ppt/diagrams/colors102.xml" ContentType="application/vnd.openxmlformats-officedocument.drawingml.diagramColors+xml"/>
  <Override PartName="/ppt/diagrams/drawing102.xml" ContentType="application/vnd.ms-office.drawingml.diagramDrawing+xml"/>
  <Override PartName="/ppt/diagrams/data103.xml" ContentType="application/vnd.openxmlformats-officedocument.drawingml.diagramData+xml"/>
  <Override PartName="/ppt/diagrams/layout103.xml" ContentType="application/vnd.openxmlformats-officedocument.drawingml.diagramLayout+xml"/>
  <Override PartName="/ppt/diagrams/quickStyle103.xml" ContentType="application/vnd.openxmlformats-officedocument.drawingml.diagramStyle+xml"/>
  <Override PartName="/ppt/diagrams/colors103.xml" ContentType="application/vnd.openxmlformats-officedocument.drawingml.diagramColors+xml"/>
  <Override PartName="/ppt/diagrams/drawing103.xml" ContentType="application/vnd.ms-office.drawingml.diagramDrawing+xml"/>
  <Override PartName="/ppt/notesSlides/notesSlide14.xml" ContentType="application/vnd.openxmlformats-officedocument.presentationml.notesSlide+xml"/>
  <Override PartName="/ppt/diagrams/data104.xml" ContentType="application/vnd.openxmlformats-officedocument.drawingml.diagramData+xml"/>
  <Override PartName="/ppt/diagrams/layout104.xml" ContentType="application/vnd.openxmlformats-officedocument.drawingml.diagramLayout+xml"/>
  <Override PartName="/ppt/diagrams/quickStyle104.xml" ContentType="application/vnd.openxmlformats-officedocument.drawingml.diagramStyle+xml"/>
  <Override PartName="/ppt/diagrams/colors104.xml" ContentType="application/vnd.openxmlformats-officedocument.drawingml.diagramColors+xml"/>
  <Override PartName="/ppt/diagrams/drawing104.xml" ContentType="application/vnd.ms-office.drawingml.diagramDrawing+xml"/>
  <Override PartName="/ppt/diagrams/data105.xml" ContentType="application/vnd.openxmlformats-officedocument.drawingml.diagramData+xml"/>
  <Override PartName="/ppt/diagrams/layout105.xml" ContentType="application/vnd.openxmlformats-officedocument.drawingml.diagramLayout+xml"/>
  <Override PartName="/ppt/diagrams/quickStyle105.xml" ContentType="application/vnd.openxmlformats-officedocument.drawingml.diagramStyle+xml"/>
  <Override PartName="/ppt/diagrams/colors105.xml" ContentType="application/vnd.openxmlformats-officedocument.drawingml.diagramColors+xml"/>
  <Override PartName="/ppt/diagrams/drawing105.xml" ContentType="application/vnd.ms-office.drawingml.diagramDrawing+xml"/>
  <Override PartName="/ppt/diagrams/data106.xml" ContentType="application/vnd.openxmlformats-officedocument.drawingml.diagramData+xml"/>
  <Override PartName="/ppt/diagrams/layout106.xml" ContentType="application/vnd.openxmlformats-officedocument.drawingml.diagramLayout+xml"/>
  <Override PartName="/ppt/diagrams/quickStyle106.xml" ContentType="application/vnd.openxmlformats-officedocument.drawingml.diagramStyle+xml"/>
  <Override PartName="/ppt/diagrams/colors106.xml" ContentType="application/vnd.openxmlformats-officedocument.drawingml.diagramColors+xml"/>
  <Override PartName="/ppt/diagrams/drawing106.xml" ContentType="application/vnd.ms-office.drawingml.diagramDrawing+xml"/>
  <Override PartName="/ppt/diagrams/data107.xml" ContentType="application/vnd.openxmlformats-officedocument.drawingml.diagramData+xml"/>
  <Override PartName="/ppt/diagrams/layout107.xml" ContentType="application/vnd.openxmlformats-officedocument.drawingml.diagramLayout+xml"/>
  <Override PartName="/ppt/diagrams/quickStyle107.xml" ContentType="application/vnd.openxmlformats-officedocument.drawingml.diagramStyle+xml"/>
  <Override PartName="/ppt/diagrams/colors107.xml" ContentType="application/vnd.openxmlformats-officedocument.drawingml.diagramColors+xml"/>
  <Override PartName="/ppt/diagrams/drawing107.xml" ContentType="application/vnd.ms-office.drawingml.diagramDrawing+xml"/>
  <Override PartName="/ppt/diagrams/data108.xml" ContentType="application/vnd.openxmlformats-officedocument.drawingml.diagramData+xml"/>
  <Override PartName="/ppt/diagrams/layout108.xml" ContentType="application/vnd.openxmlformats-officedocument.drawingml.diagramLayout+xml"/>
  <Override PartName="/ppt/diagrams/quickStyle108.xml" ContentType="application/vnd.openxmlformats-officedocument.drawingml.diagramStyle+xml"/>
  <Override PartName="/ppt/diagrams/colors108.xml" ContentType="application/vnd.openxmlformats-officedocument.drawingml.diagramColors+xml"/>
  <Override PartName="/ppt/diagrams/drawing108.xml" ContentType="application/vnd.ms-office.drawingml.diagramDrawing+xml"/>
  <Override PartName="/ppt/diagrams/data109.xml" ContentType="application/vnd.openxmlformats-officedocument.drawingml.diagramData+xml"/>
  <Override PartName="/ppt/diagrams/layout109.xml" ContentType="application/vnd.openxmlformats-officedocument.drawingml.diagramLayout+xml"/>
  <Override PartName="/ppt/diagrams/quickStyle109.xml" ContentType="application/vnd.openxmlformats-officedocument.drawingml.diagramStyle+xml"/>
  <Override PartName="/ppt/diagrams/colors109.xml" ContentType="application/vnd.openxmlformats-officedocument.drawingml.diagramColors+xml"/>
  <Override PartName="/ppt/diagrams/drawing109.xml" ContentType="application/vnd.ms-office.drawingml.diagramDrawing+xml"/>
  <Override PartName="/ppt/diagrams/data110.xml" ContentType="application/vnd.openxmlformats-officedocument.drawingml.diagramData+xml"/>
  <Override PartName="/ppt/diagrams/layout110.xml" ContentType="application/vnd.openxmlformats-officedocument.drawingml.diagramLayout+xml"/>
  <Override PartName="/ppt/diagrams/quickStyle110.xml" ContentType="application/vnd.openxmlformats-officedocument.drawingml.diagramStyle+xml"/>
  <Override PartName="/ppt/diagrams/colors110.xml" ContentType="application/vnd.openxmlformats-officedocument.drawingml.diagramColors+xml"/>
  <Override PartName="/ppt/diagrams/drawing110.xml" ContentType="application/vnd.ms-office.drawingml.diagramDrawing+xml"/>
  <Override PartName="/ppt/diagrams/data111.xml" ContentType="application/vnd.openxmlformats-officedocument.drawingml.diagramData+xml"/>
  <Override PartName="/ppt/diagrams/layout111.xml" ContentType="application/vnd.openxmlformats-officedocument.drawingml.diagramLayout+xml"/>
  <Override PartName="/ppt/diagrams/quickStyle111.xml" ContentType="application/vnd.openxmlformats-officedocument.drawingml.diagramStyle+xml"/>
  <Override PartName="/ppt/diagrams/colors111.xml" ContentType="application/vnd.openxmlformats-officedocument.drawingml.diagramColors+xml"/>
  <Override PartName="/ppt/diagrams/drawing111.xml" ContentType="application/vnd.ms-office.drawingml.diagramDrawing+xml"/>
  <Override PartName="/ppt/diagrams/data112.xml" ContentType="application/vnd.openxmlformats-officedocument.drawingml.diagramData+xml"/>
  <Override PartName="/ppt/diagrams/layout112.xml" ContentType="application/vnd.openxmlformats-officedocument.drawingml.diagramLayout+xml"/>
  <Override PartName="/ppt/diagrams/quickStyle112.xml" ContentType="application/vnd.openxmlformats-officedocument.drawingml.diagramStyle+xml"/>
  <Override PartName="/ppt/diagrams/colors112.xml" ContentType="application/vnd.openxmlformats-officedocument.drawingml.diagramColors+xml"/>
  <Override PartName="/ppt/diagrams/drawing112.xml" ContentType="application/vnd.ms-office.drawingml.diagramDrawing+xml"/>
  <Override PartName="/ppt/diagrams/data113.xml" ContentType="application/vnd.openxmlformats-officedocument.drawingml.diagramData+xml"/>
  <Override PartName="/ppt/diagrams/layout113.xml" ContentType="application/vnd.openxmlformats-officedocument.drawingml.diagramLayout+xml"/>
  <Override PartName="/ppt/diagrams/quickStyle113.xml" ContentType="application/vnd.openxmlformats-officedocument.drawingml.diagramStyle+xml"/>
  <Override PartName="/ppt/diagrams/colors113.xml" ContentType="application/vnd.openxmlformats-officedocument.drawingml.diagramColors+xml"/>
  <Override PartName="/ppt/diagrams/drawing113.xml" ContentType="application/vnd.ms-office.drawingml.diagramDrawing+xml"/>
  <Override PartName="/ppt/diagrams/data114.xml" ContentType="application/vnd.openxmlformats-officedocument.drawingml.diagramData+xml"/>
  <Override PartName="/ppt/diagrams/layout114.xml" ContentType="application/vnd.openxmlformats-officedocument.drawingml.diagramLayout+xml"/>
  <Override PartName="/ppt/diagrams/quickStyle114.xml" ContentType="application/vnd.openxmlformats-officedocument.drawingml.diagramStyle+xml"/>
  <Override PartName="/ppt/diagrams/colors114.xml" ContentType="application/vnd.openxmlformats-officedocument.drawingml.diagramColors+xml"/>
  <Override PartName="/ppt/diagrams/drawing114.xml" ContentType="application/vnd.ms-office.drawingml.diagramDrawing+xml"/>
  <Override PartName="/ppt/diagrams/data115.xml" ContentType="application/vnd.openxmlformats-officedocument.drawingml.diagramData+xml"/>
  <Override PartName="/ppt/diagrams/layout115.xml" ContentType="application/vnd.openxmlformats-officedocument.drawingml.diagramLayout+xml"/>
  <Override PartName="/ppt/diagrams/quickStyle115.xml" ContentType="application/vnd.openxmlformats-officedocument.drawingml.diagramStyle+xml"/>
  <Override PartName="/ppt/diagrams/colors115.xml" ContentType="application/vnd.openxmlformats-officedocument.drawingml.diagramColors+xml"/>
  <Override PartName="/ppt/diagrams/drawing115.xml" ContentType="application/vnd.ms-office.drawingml.diagramDrawing+xml"/>
  <Override PartName="/ppt/diagrams/data116.xml" ContentType="application/vnd.openxmlformats-officedocument.drawingml.diagramData+xml"/>
  <Override PartName="/ppt/diagrams/layout116.xml" ContentType="application/vnd.openxmlformats-officedocument.drawingml.diagramLayout+xml"/>
  <Override PartName="/ppt/diagrams/quickStyle116.xml" ContentType="application/vnd.openxmlformats-officedocument.drawingml.diagramStyle+xml"/>
  <Override PartName="/ppt/diagrams/colors116.xml" ContentType="application/vnd.openxmlformats-officedocument.drawingml.diagramColors+xml"/>
  <Override PartName="/ppt/diagrams/drawing116.xml" ContentType="application/vnd.ms-office.drawingml.diagramDrawing+xml"/>
  <Override PartName="/ppt/diagrams/data117.xml" ContentType="application/vnd.openxmlformats-officedocument.drawingml.diagramData+xml"/>
  <Override PartName="/ppt/diagrams/layout117.xml" ContentType="application/vnd.openxmlformats-officedocument.drawingml.diagramLayout+xml"/>
  <Override PartName="/ppt/diagrams/quickStyle117.xml" ContentType="application/vnd.openxmlformats-officedocument.drawingml.diagramStyle+xml"/>
  <Override PartName="/ppt/diagrams/colors117.xml" ContentType="application/vnd.openxmlformats-officedocument.drawingml.diagramColors+xml"/>
  <Override PartName="/ppt/diagrams/drawing117.xml" ContentType="application/vnd.ms-office.drawingml.diagramDrawing+xml"/>
  <Override PartName="/ppt/diagrams/data118.xml" ContentType="application/vnd.openxmlformats-officedocument.drawingml.diagramData+xml"/>
  <Override PartName="/ppt/diagrams/layout118.xml" ContentType="application/vnd.openxmlformats-officedocument.drawingml.diagramLayout+xml"/>
  <Override PartName="/ppt/diagrams/quickStyle118.xml" ContentType="application/vnd.openxmlformats-officedocument.drawingml.diagramStyle+xml"/>
  <Override PartName="/ppt/diagrams/colors118.xml" ContentType="application/vnd.openxmlformats-officedocument.drawingml.diagramColors+xml"/>
  <Override PartName="/ppt/diagrams/drawing118.xml" ContentType="application/vnd.ms-office.drawingml.diagramDrawing+xml"/>
  <Override PartName="/ppt/diagrams/data119.xml" ContentType="application/vnd.openxmlformats-officedocument.drawingml.diagramData+xml"/>
  <Override PartName="/ppt/diagrams/layout119.xml" ContentType="application/vnd.openxmlformats-officedocument.drawingml.diagramLayout+xml"/>
  <Override PartName="/ppt/diagrams/quickStyle119.xml" ContentType="application/vnd.openxmlformats-officedocument.drawingml.diagramStyle+xml"/>
  <Override PartName="/ppt/diagrams/colors119.xml" ContentType="application/vnd.openxmlformats-officedocument.drawingml.diagramColors+xml"/>
  <Override PartName="/ppt/diagrams/drawing119.xml" ContentType="application/vnd.ms-office.drawingml.diagramDrawing+xml"/>
  <Override PartName="/ppt/notesSlides/notesSlide15.xml" ContentType="application/vnd.openxmlformats-officedocument.presentationml.notesSlide+xml"/>
  <Override PartName="/ppt/diagrams/data120.xml" ContentType="application/vnd.openxmlformats-officedocument.drawingml.diagramData+xml"/>
  <Override PartName="/ppt/diagrams/layout120.xml" ContentType="application/vnd.openxmlformats-officedocument.drawingml.diagramLayout+xml"/>
  <Override PartName="/ppt/diagrams/quickStyle120.xml" ContentType="application/vnd.openxmlformats-officedocument.drawingml.diagramStyle+xml"/>
  <Override PartName="/ppt/diagrams/colors120.xml" ContentType="application/vnd.openxmlformats-officedocument.drawingml.diagramColors+xml"/>
  <Override PartName="/ppt/diagrams/drawing120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715" r:id="rId2"/>
  </p:sldMasterIdLst>
  <p:notesMasterIdLst>
    <p:notesMasterId r:id="rId20"/>
  </p:notesMasterIdLst>
  <p:handoutMasterIdLst>
    <p:handoutMasterId r:id="rId21"/>
  </p:handoutMasterIdLst>
  <p:sldIdLst>
    <p:sldId id="347" r:id="rId3"/>
    <p:sldId id="365" r:id="rId4"/>
    <p:sldId id="410" r:id="rId5"/>
    <p:sldId id="412" r:id="rId6"/>
    <p:sldId id="413" r:id="rId7"/>
    <p:sldId id="414" r:id="rId8"/>
    <p:sldId id="415" r:id="rId9"/>
    <p:sldId id="416" r:id="rId10"/>
    <p:sldId id="417" r:id="rId11"/>
    <p:sldId id="425" r:id="rId12"/>
    <p:sldId id="426" r:id="rId13"/>
    <p:sldId id="427" r:id="rId14"/>
    <p:sldId id="424" r:id="rId15"/>
    <p:sldId id="421" r:id="rId16"/>
    <p:sldId id="428" r:id="rId17"/>
    <p:sldId id="429" r:id="rId18"/>
    <p:sldId id="409" r:id="rId19"/>
  </p:sldIdLst>
  <p:sldSz cx="9144000" cy="5143500" type="screen16x9"/>
  <p:notesSz cx="6797675" cy="9926638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5">
          <p15:clr>
            <a:srgbClr val="A4A3A4"/>
          </p15:clr>
        </p15:guide>
        <p15:guide id="2" orient="horz" pos="2845">
          <p15:clr>
            <a:srgbClr val="A4A3A4"/>
          </p15:clr>
        </p15:guide>
        <p15:guide id="3" pos="226">
          <p15:clr>
            <a:srgbClr val="A4A3A4"/>
          </p15:clr>
        </p15:guide>
        <p15:guide id="4" pos="5602">
          <p15:clr>
            <a:srgbClr val="A4A3A4"/>
          </p15:clr>
        </p15:guide>
        <p15:guide id="5" pos="2857">
          <p15:clr>
            <a:srgbClr val="A4A3A4"/>
          </p15:clr>
        </p15:guide>
        <p15:guide id="6" pos="2971">
          <p15:clr>
            <a:srgbClr val="A4A3A4"/>
          </p15:clr>
        </p15:guide>
        <p15:guide id="7" orient="horz" pos="3072">
          <p15:clr>
            <a:srgbClr val="A4A3A4"/>
          </p15:clr>
        </p15:guide>
        <p15:guide id="8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339933"/>
    <a:srgbClr val="FF9900"/>
    <a:srgbClr val="CCECFF"/>
    <a:srgbClr val="A5580A"/>
    <a:srgbClr val="008000"/>
    <a:srgbClr val="F4950A"/>
    <a:srgbClr val="687C52"/>
    <a:srgbClr val="3EC054"/>
    <a:srgbClr val="006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23" autoAdjust="0"/>
    <p:restoredTop sz="56868" autoAdjust="0"/>
  </p:normalViewPr>
  <p:slideViewPr>
    <p:cSldViewPr snapToObjects="1" showGuides="1">
      <p:cViewPr varScale="1">
        <p:scale>
          <a:sx n="68" d="100"/>
          <a:sy n="68" d="100"/>
        </p:scale>
        <p:origin x="2418" y="66"/>
      </p:cViewPr>
      <p:guideLst>
        <p:guide orient="horz" pos="735"/>
        <p:guide orient="horz" pos="2845"/>
        <p:guide pos="226"/>
        <p:guide pos="5602"/>
        <p:guide pos="2857"/>
        <p:guide pos="2971"/>
        <p:guide orient="horz" pos="3072"/>
        <p:guide pos="204"/>
      </p:guideLst>
    </p:cSldViewPr>
  </p:slideViewPr>
  <p:outlineViewPr>
    <p:cViewPr>
      <p:scale>
        <a:sx n="33" d="100"/>
        <a:sy n="33" d="100"/>
      </p:scale>
      <p:origin x="0" y="-5246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Objects="1" showGuides="1">
      <p:cViewPr varScale="1">
        <p:scale>
          <a:sx n="64" d="100"/>
          <a:sy n="64" d="100"/>
        </p:scale>
        <p:origin x="3390" y="78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8/layout/CircularPictureCallout" loCatId="picture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/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Vielfalt der Lern- </a:t>
          </a:r>
          <a:br>
            <a:rPr lang="de-DE" sz="1500" dirty="0" smtClean="0">
              <a:solidFill>
                <a:schemeClr val="bg1"/>
              </a:solidFill>
            </a:rPr>
          </a:br>
          <a:r>
            <a:rPr lang="de-DE" sz="1500" dirty="0" smtClean="0">
              <a:solidFill>
                <a:schemeClr val="bg1"/>
              </a:solidFill>
            </a:rPr>
            <a:t>und Arbeitsforme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>
        <a:solidFill>
          <a:srgbClr val="F4950A"/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de-DE" baseline="0">
            <a:solidFill>
              <a:srgbClr val="FF9900"/>
            </a:solidFill>
          </a:endParaRPr>
        </a:p>
      </dgm:t>
    </dgm:pt>
    <dgm:pt modelId="{5430D817-79D9-45B1-867A-98859D8055D4}" type="pres">
      <dgm:prSet presAssocID="{535198FA-1CD5-4CD7-892B-0AFAE5FAC36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de-DE"/>
        </a:p>
      </dgm:t>
    </dgm:pt>
    <dgm:pt modelId="{D897D288-781D-47D6-A8BD-01CD5305B337}" type="pres">
      <dgm:prSet presAssocID="{535198FA-1CD5-4CD7-892B-0AFAE5FAC363}" presName="Name1" presStyleCnt="0"/>
      <dgm:spPr/>
      <dgm:t>
        <a:bodyPr/>
        <a:lstStyle/>
        <a:p>
          <a:endParaRPr lang="de-DE"/>
        </a:p>
      </dgm:t>
    </dgm:pt>
    <dgm:pt modelId="{B0E9FEE9-4775-4D45-86C4-101DE7FDB381}" type="pres">
      <dgm:prSet presAssocID="{1850AA12-DDDD-4CE6-B2D3-7438344BCC14}" presName="picture_1" presStyleCnt="0"/>
      <dgm:spPr/>
      <dgm:t>
        <a:bodyPr/>
        <a:lstStyle/>
        <a:p>
          <a:endParaRPr lang="de-DE"/>
        </a:p>
      </dgm:t>
    </dgm:pt>
    <dgm:pt modelId="{E1FAEA0D-A724-43CC-928B-9A3D3724F0CB}" type="pres">
      <dgm:prSet presAssocID="{1850AA12-DDDD-4CE6-B2D3-7438344BCC14}" presName="pictureRepeatNode" presStyleLbl="alignImgPlace1" presStyleIdx="0" presStyleCnt="1" custScaleX="108451" custScaleY="108451" custLinFactNeighborX="-1453"/>
      <dgm:spPr/>
      <dgm:t>
        <a:bodyPr/>
        <a:lstStyle/>
        <a:p>
          <a:endParaRPr lang="de-DE"/>
        </a:p>
      </dgm:t>
    </dgm:pt>
    <dgm:pt modelId="{2CE3B2F5-BF2B-4689-85D4-B8D9028FF04E}" type="pres">
      <dgm:prSet presAssocID="{F168D0D7-DD15-4F69-8DEA-3E59459CE995}" presName="text_1" presStyleLbl="node1" presStyleIdx="0" presStyleCnt="0" custScaleX="170797" custScaleY="87937" custLinFactNeighborX="-750" custLinFactNeighborY="-65131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314FDC9-DDDC-4B40-B60E-C9FCFA1C0FA4}" type="presOf" srcId="{535198FA-1CD5-4CD7-892B-0AFAE5FAC363}" destId="{5430D817-79D9-45B1-867A-98859D8055D4}" srcOrd="0" destOrd="0" presId="urn:microsoft.com/office/officeart/2008/layout/CircularPictureCallout"/>
    <dgm:cxn modelId="{A39A49E8-2C7D-4742-BF14-4039D54E144E}" type="presOf" srcId="{F168D0D7-DD15-4F69-8DEA-3E59459CE995}" destId="{2CE3B2F5-BF2B-4689-85D4-B8D9028FF04E}" srcOrd="0" destOrd="0" presId="urn:microsoft.com/office/officeart/2008/layout/CircularPictureCallout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1C9ABABF-442D-45A6-8C3A-60948C9801AD}" type="presOf" srcId="{1850AA12-DDDD-4CE6-B2D3-7438344BCC14}" destId="{E1FAEA0D-A724-43CC-928B-9A3D3724F0CB}" srcOrd="0" destOrd="0" presId="urn:microsoft.com/office/officeart/2008/layout/CircularPictureCallout"/>
    <dgm:cxn modelId="{173C43EF-FB6A-4F3A-92E8-AD5B0792338B}" type="presParOf" srcId="{5430D817-79D9-45B1-867A-98859D8055D4}" destId="{D897D288-781D-47D6-A8BD-01CD5305B337}" srcOrd="0" destOrd="0" presId="urn:microsoft.com/office/officeart/2008/layout/CircularPictureCallout"/>
    <dgm:cxn modelId="{592F6D80-A7BC-4A21-992D-149EDDD02A57}" type="presParOf" srcId="{D897D288-781D-47D6-A8BD-01CD5305B337}" destId="{B0E9FEE9-4775-4D45-86C4-101DE7FDB381}" srcOrd="0" destOrd="0" presId="urn:microsoft.com/office/officeart/2008/layout/CircularPictureCallout"/>
    <dgm:cxn modelId="{80E8C2DB-DAB5-410B-9687-F6793CB7CA9F}" type="presParOf" srcId="{B0E9FEE9-4775-4D45-86C4-101DE7FDB381}" destId="{E1FAEA0D-A724-43CC-928B-9A3D3724F0CB}" srcOrd="0" destOrd="0" presId="urn:microsoft.com/office/officeart/2008/layout/CircularPictureCallout"/>
    <dgm:cxn modelId="{1FC07535-D88A-4D8D-8A9D-0FDF3E0A6304}" type="presParOf" srcId="{D897D288-781D-47D6-A8BD-01CD5305B337}" destId="{2CE3B2F5-BF2B-4689-85D4-B8D9028FF04E}" srcOrd="1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kleine Klassen mit 23 - 25 </a:t>
          </a:r>
          <a:r>
            <a:rPr lang="de-DE" sz="1500" dirty="0" err="1" smtClean="0">
              <a:solidFill>
                <a:schemeClr val="bg1"/>
              </a:solidFill>
            </a:rPr>
            <a:t>Schüler:inne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-22595" custLinFactNeighborX="1331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7004319-97D9-484B-945D-3C2ADEF8A400}" type="presOf" srcId="{535198FA-1CD5-4CD7-892B-0AFAE5FAC363}" destId="{7328831C-A7AC-48C3-B011-46774979AC11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65339161-6F5C-40F6-8508-98177FB3A248}" type="presOf" srcId="{F168D0D7-DD15-4F69-8DEA-3E59459CE995}" destId="{5C44AA69-D049-4B71-AE2C-A2059F01FF6F}" srcOrd="0" destOrd="0" presId="urn:microsoft.com/office/officeart/2005/8/layout/vList2"/>
    <dgm:cxn modelId="{0A7EF2CF-5662-402E-97D6-72385E9FB6A0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00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Unterricht - Angebote und Organisation 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0000" custScaleY="273634" custLinFactNeighborX="733" custLinFactNeighborY="13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4B869A01-B5E0-432E-AAA7-155C8C97A206}" type="presOf" srcId="{F168D0D7-DD15-4F69-8DEA-3E59459CE995}" destId="{5C44AA69-D049-4B71-AE2C-A2059F01FF6F}" srcOrd="0" destOrd="0" presId="urn:microsoft.com/office/officeart/2005/8/layout/vList2"/>
    <dgm:cxn modelId="{7444DB3D-9E84-4078-83F0-8C1736F6DF85}" type="presOf" srcId="{535198FA-1CD5-4CD7-892B-0AFAE5FAC363}" destId="{7328831C-A7AC-48C3-B011-46774979AC11}" srcOrd="0" destOrd="0" presId="urn:microsoft.com/office/officeart/2005/8/layout/vList2"/>
    <dgm:cxn modelId="{5A60DA1C-1AC0-4A62-BB44-44EAB541D01C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01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Vernetzung im Stadtteil, Kooperationspartner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67292" custLinFactNeighborY="-794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29E4876-312E-4D91-BB1B-A5E2C65F5830}" type="presOf" srcId="{535198FA-1CD5-4CD7-892B-0AFAE5FAC363}" destId="{7328831C-A7AC-48C3-B011-46774979AC11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C754F4A1-1779-4C37-8E76-1DB1EA9B35F4}" type="presOf" srcId="{F168D0D7-DD15-4F69-8DEA-3E59459CE995}" destId="{5C44AA69-D049-4B71-AE2C-A2059F01FF6F}" srcOrd="0" destOrd="0" presId="urn:microsoft.com/office/officeart/2005/8/layout/vList2"/>
    <dgm:cxn modelId="{37B57F99-D52A-486B-86EB-1D85A991D085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02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Fördern und Forder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44786" custLinFactNeighborX="372" custLinFactNeighborY="-23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B1903BF-BBEC-480C-AE5D-CB938669FA34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3BA47AAC-E335-42AB-A04F-BC577F1F1B3E}" type="presOf" srcId="{535198FA-1CD5-4CD7-892B-0AFAE5FAC363}" destId="{7328831C-A7AC-48C3-B011-46774979AC11}" srcOrd="0" destOrd="0" presId="urn:microsoft.com/office/officeart/2005/8/layout/vList2"/>
    <dgm:cxn modelId="{87780276-3723-4C07-976E-0FA86312297B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03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Gesprächskultur (Lehrerkräfte - </a:t>
          </a:r>
          <a:r>
            <a:rPr lang="de-DE" sz="1500" dirty="0" err="1" smtClean="0">
              <a:solidFill>
                <a:schemeClr val="bg1"/>
              </a:solidFill>
            </a:rPr>
            <a:t>Schüler:innen</a:t>
          </a:r>
          <a:r>
            <a:rPr lang="de-DE" sz="1500" dirty="0" smtClean="0">
              <a:solidFill>
                <a:schemeClr val="bg1"/>
              </a:solidFill>
            </a:rPr>
            <a:t> - Eltern)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-22595" custLinFactNeighborX="1331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E9DF0883-77D2-4A45-818A-1C4F7614F95C}" type="presOf" srcId="{535198FA-1CD5-4CD7-892B-0AFAE5FAC363}" destId="{7328831C-A7AC-48C3-B011-46774979AC11}" srcOrd="0" destOrd="0" presId="urn:microsoft.com/office/officeart/2005/8/layout/vList2"/>
    <dgm:cxn modelId="{43573643-BB9E-42D9-B4A0-86FD1BBC0920}" type="presOf" srcId="{F168D0D7-DD15-4F69-8DEA-3E59459CE995}" destId="{5C44AA69-D049-4B71-AE2C-A2059F01FF6F}" srcOrd="0" destOrd="0" presId="urn:microsoft.com/office/officeart/2005/8/layout/vList2"/>
    <dgm:cxn modelId="{912D871A-07D6-49B9-97F4-9387F61FE02B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3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04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Gesprächskultur (Lehrerkräfte - </a:t>
          </a:r>
          <a:r>
            <a:rPr lang="de-DE" sz="1500" dirty="0" err="1" smtClean="0">
              <a:solidFill>
                <a:schemeClr val="bg1"/>
              </a:solidFill>
            </a:rPr>
            <a:t>Schüler:innen</a:t>
          </a:r>
          <a:r>
            <a:rPr lang="de-DE" sz="1500" dirty="0" smtClean="0">
              <a:solidFill>
                <a:schemeClr val="bg1"/>
              </a:solidFill>
            </a:rPr>
            <a:t> - Eltern)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-22595" custLinFactNeighborX="1331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AADF3FCE-04BC-409B-AC79-D0E176BAA11D}" type="presOf" srcId="{535198FA-1CD5-4CD7-892B-0AFAE5FAC363}" destId="{7328831C-A7AC-48C3-B011-46774979AC11}" srcOrd="0" destOrd="0" presId="urn:microsoft.com/office/officeart/2005/8/layout/vList2"/>
    <dgm:cxn modelId="{96210AFC-4869-459A-B3B1-68B5BF05E702}" type="presOf" srcId="{F168D0D7-DD15-4F69-8DEA-3E59459CE995}" destId="{5C44AA69-D049-4B71-AE2C-A2059F01FF6F}" srcOrd="0" destOrd="0" presId="urn:microsoft.com/office/officeart/2005/8/layout/vList2"/>
    <dgm:cxn modelId="{37A84DF2-1B94-42BA-A3E9-FB47F7DF5D01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05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Höhepunkte im Schulleben 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Ang="0" custLinFactY="-100000" custLinFactNeighborX="-35670" custLinFactNeighborY="-18576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9A92F146-E4A9-4516-82FD-00E65E79421E}" type="presOf" srcId="{F168D0D7-DD15-4F69-8DEA-3E59459CE995}" destId="{5C44AA69-D049-4B71-AE2C-A2059F01FF6F}" srcOrd="0" destOrd="0" presId="urn:microsoft.com/office/officeart/2005/8/layout/vList2"/>
    <dgm:cxn modelId="{5FD4DF37-AEF5-4B8F-9DF6-7083E36BE45D}" type="presOf" srcId="{535198FA-1CD5-4CD7-892B-0AFAE5FAC363}" destId="{7328831C-A7AC-48C3-B011-46774979AC11}" srcOrd="0" destOrd="0" presId="urn:microsoft.com/office/officeart/2005/8/layout/vList2"/>
    <dgm:cxn modelId="{3CC990BC-1C1C-43A5-8EC1-19640DED7AD0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06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Vernetzung im Stadtteil, Kooperationspartner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67292" custLinFactNeighborY="-794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359F42C9-1B6B-4434-BB4D-8E0A88E2C847}" type="presOf" srcId="{F168D0D7-DD15-4F69-8DEA-3E59459CE995}" destId="{5C44AA69-D049-4B71-AE2C-A2059F01FF6F}" srcOrd="0" destOrd="0" presId="urn:microsoft.com/office/officeart/2005/8/layout/vList2"/>
    <dgm:cxn modelId="{A180FBCF-09D7-42EC-BEF0-4B4834455C48}" type="presOf" srcId="{535198FA-1CD5-4CD7-892B-0AFAE5FAC363}" destId="{7328831C-A7AC-48C3-B011-46774979AC11}" srcOrd="0" destOrd="0" presId="urn:microsoft.com/office/officeart/2005/8/layout/vList2"/>
    <dgm:cxn modelId="{E4E32AC3-0AE6-4F96-B27A-8F431D5B76FB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07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Fördern und Forder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44786" custLinFactNeighborX="372" custLinFactNeighborY="-23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D5CDEB84-76AC-438D-A549-88C98D681394}" type="presOf" srcId="{535198FA-1CD5-4CD7-892B-0AFAE5FAC363}" destId="{7328831C-A7AC-48C3-B011-46774979AC11}" srcOrd="0" destOrd="0" presId="urn:microsoft.com/office/officeart/2005/8/layout/vList2"/>
    <dgm:cxn modelId="{FF7F3D8C-90BA-48D8-9A35-AD8E70D9831F}" type="presOf" srcId="{F168D0D7-DD15-4F69-8DEA-3E59459CE995}" destId="{5C44AA69-D049-4B71-AE2C-A2059F01FF6F}" srcOrd="0" destOrd="0" presId="urn:microsoft.com/office/officeart/2005/8/layout/vList2"/>
    <dgm:cxn modelId="{45BE4480-447E-45DC-8DFC-0027102FB46F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08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Ganztagsschule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44786" custLinFactX="-48989" custLinFactNeighborX="-100000" custLinFactNeighborY="23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710A49E4-8757-4C44-82FF-3E515CACAF99}" type="presOf" srcId="{F168D0D7-DD15-4F69-8DEA-3E59459CE995}" destId="{5C44AA69-D049-4B71-AE2C-A2059F01FF6F}" srcOrd="0" destOrd="0" presId="urn:microsoft.com/office/officeart/2005/8/layout/vList2"/>
    <dgm:cxn modelId="{C6DAFB57-EFAE-4C45-88C0-559642DC8349}" type="presOf" srcId="{535198FA-1CD5-4CD7-892B-0AFAE5FAC363}" destId="{7328831C-A7AC-48C3-B011-46774979AC11}" srcOrd="0" destOrd="0" presId="urn:microsoft.com/office/officeart/2005/8/layout/vList2"/>
    <dgm:cxn modelId="{0B5E2BCD-5D39-4BD4-A36E-99C921226FB3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09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Unterricht - Angebote und Organisation 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0000" custScaleY="273634" custLinFactNeighborX="733" custLinFactNeighborY="13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45D1A33C-A45D-49D3-8FE5-27077BCFC831}" type="presOf" srcId="{F168D0D7-DD15-4F69-8DEA-3E59459CE995}" destId="{5C44AA69-D049-4B71-AE2C-A2059F01FF6F}" srcOrd="0" destOrd="0" presId="urn:microsoft.com/office/officeart/2005/8/layout/vList2"/>
    <dgm:cxn modelId="{81BCDB00-C4AE-4C1E-AC80-10723E83B42E}" type="presOf" srcId="{535198FA-1CD5-4CD7-892B-0AFAE5FAC363}" destId="{7328831C-A7AC-48C3-B011-46774979AC11}" srcOrd="0" destOrd="0" presId="urn:microsoft.com/office/officeart/2005/8/layout/vList2"/>
    <dgm:cxn modelId="{AF5BF8DA-0F13-4BE9-868F-04EDDCA711D2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alle Abschlüsse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44786" custLinFactNeighborX="2735" custLinFactNeighborY="-23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18E6FC8-8A03-4951-BC42-3BAD42A1210E}" type="presOf" srcId="{535198FA-1CD5-4CD7-892B-0AFAE5FAC363}" destId="{7328831C-A7AC-48C3-B011-46774979AC11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74F9EBE3-89E3-4A6C-A468-DF933C5D0251}" type="presOf" srcId="{F168D0D7-DD15-4F69-8DEA-3E59459CE995}" destId="{5C44AA69-D049-4B71-AE2C-A2059F01FF6F}" srcOrd="0" destOrd="0" presId="urn:microsoft.com/office/officeart/2005/8/layout/vList2"/>
    <dgm:cxn modelId="{13C11B9B-3B1D-4887-950F-33AB033DBC36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10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1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Was macht diese Schule so besonders? Warum ist es schön, hier zu lernen oder zu arbeiten?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75996" custLinFactY="-100000" custLinFactNeighborY="-10665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55EC996-373B-4834-9E97-10156A5C7BC8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F714A73E-FE24-46E0-AD82-5394E89C091E}" type="presOf" srcId="{535198FA-1CD5-4CD7-892B-0AFAE5FAC363}" destId="{7328831C-A7AC-48C3-B011-46774979AC11}" srcOrd="0" destOrd="0" presId="urn:microsoft.com/office/officeart/2005/8/layout/vList2"/>
    <dgm:cxn modelId="{33A8BABC-95DB-4949-874C-6A1CDABE053F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3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11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1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Gibt es regelmäßig wiederkehrende Höhepunkte im Schuljahr (z.B. Projektwochen)?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66320" custLinFactY="100000" custLinFactNeighborX="-469" custLinFactNeighborY="12417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E7FB58C5-3CC6-4542-8B37-4A01C6F8F9AC}" type="presOf" srcId="{F168D0D7-DD15-4F69-8DEA-3E59459CE995}" destId="{5C44AA69-D049-4B71-AE2C-A2059F01FF6F}" srcOrd="0" destOrd="0" presId="urn:microsoft.com/office/officeart/2005/8/layout/vList2"/>
    <dgm:cxn modelId="{52422F62-FC43-4DF7-8071-8DC9478D5DE7}" type="presOf" srcId="{535198FA-1CD5-4CD7-892B-0AFAE5FAC363}" destId="{7328831C-A7AC-48C3-B011-46774979AC11}" srcOrd="0" destOrd="0" presId="urn:microsoft.com/office/officeart/2005/8/layout/vList2"/>
    <dgm:cxn modelId="{4A372208-F58F-4DC1-813C-E53A6BDA9D95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12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1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Gibt es Programme, die das Miteinander der </a:t>
          </a:r>
          <a:r>
            <a:rPr lang="de-DE" sz="1500" dirty="0" err="1" smtClean="0">
              <a:solidFill>
                <a:schemeClr val="bg1"/>
              </a:solidFill>
            </a:rPr>
            <a:t>Schüler:innen</a:t>
          </a:r>
          <a:r>
            <a:rPr lang="de-DE" sz="1500" dirty="0" smtClean="0">
              <a:solidFill>
                <a:schemeClr val="bg1"/>
              </a:solidFill>
            </a:rPr>
            <a:t> stärken (Patenschaften, Streitschlichter etc.)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75996" custLinFactY="65156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B0A814A7-AC31-402D-B6EE-2A2D81D9F3EA}" type="presOf" srcId="{535198FA-1CD5-4CD7-892B-0AFAE5FAC363}" destId="{7328831C-A7AC-48C3-B011-46774979AC11}" srcOrd="0" destOrd="0" presId="urn:microsoft.com/office/officeart/2005/8/layout/vList2"/>
    <dgm:cxn modelId="{51339E02-23F9-4CEF-A42C-4B182BB9766C}" type="presOf" srcId="{F168D0D7-DD15-4F69-8DEA-3E59459CE995}" destId="{5C44AA69-D049-4B71-AE2C-A2059F01FF6F}" srcOrd="0" destOrd="0" presId="urn:microsoft.com/office/officeart/2005/8/layout/vList2"/>
    <dgm:cxn modelId="{76A0DA54-8C1A-4D1A-9420-B9FA82146A1E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3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13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1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Wie erleichtert die Schule das Ankommen in der Schule und fördert die neue Klassengemeinschaft?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66320" custLinFactNeighborX="744" custLinFactNeighborY="-1097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CB229DCB-712E-43FD-A15A-BBEE8A7ACFF1}" type="presOf" srcId="{F168D0D7-DD15-4F69-8DEA-3E59459CE995}" destId="{5C44AA69-D049-4B71-AE2C-A2059F01FF6F}" srcOrd="0" destOrd="0" presId="urn:microsoft.com/office/officeart/2005/8/layout/vList2"/>
    <dgm:cxn modelId="{484DCB48-4183-4703-8387-26E463ADC370}" type="presOf" srcId="{535198FA-1CD5-4CD7-892B-0AFAE5FAC363}" destId="{7328831C-A7AC-48C3-B011-46774979AC11}" srcOrd="0" destOrd="0" presId="urn:microsoft.com/office/officeart/2005/8/layout/vList2"/>
    <dgm:cxn modelId="{53962887-A42C-4446-807F-4A2753E590EE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14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1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Worauf legt die Schule besonderen Wert im Kontakt mit den </a:t>
          </a:r>
          <a:r>
            <a:rPr lang="de-DE" sz="1500" dirty="0" err="1" smtClean="0">
              <a:solidFill>
                <a:schemeClr val="bg1"/>
              </a:solidFill>
            </a:rPr>
            <a:t>Schüler:innen</a:t>
          </a:r>
          <a:r>
            <a:rPr lang="de-DE" sz="1500" dirty="0" smtClean="0">
              <a:solidFill>
                <a:schemeClr val="bg1"/>
              </a:solidFill>
            </a:rPr>
            <a:t> und deren Eltern?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75996" custLinFactY="65156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27FB10C-940D-4ED7-AAD1-76D89F09F491}" type="presOf" srcId="{535198FA-1CD5-4CD7-892B-0AFAE5FAC363}" destId="{7328831C-A7AC-48C3-B011-46774979AC11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586B213C-A04F-4712-9E5D-11E4237313B6}" type="presOf" srcId="{F168D0D7-DD15-4F69-8DEA-3E59459CE995}" destId="{5C44AA69-D049-4B71-AE2C-A2059F01FF6F}" srcOrd="0" destOrd="0" presId="urn:microsoft.com/office/officeart/2005/8/layout/vList2"/>
    <dgm:cxn modelId="{A38EEA51-67CA-452F-B46E-7D553917511E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3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15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1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Welche Angebote für besonders leistungsfähige oder begabte </a:t>
          </a:r>
          <a:r>
            <a:rPr lang="de-DE" sz="1500" dirty="0" err="1" smtClean="0">
              <a:solidFill>
                <a:schemeClr val="bg1"/>
              </a:solidFill>
            </a:rPr>
            <a:t>Schüler:innen</a:t>
          </a:r>
          <a:r>
            <a:rPr lang="de-DE" sz="1500" dirty="0" smtClean="0">
              <a:solidFill>
                <a:schemeClr val="bg1"/>
              </a:solidFill>
            </a:rPr>
            <a:t> gibt es?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75996" custLinFactY="65156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F216E3D0-6F62-4B12-A75E-671824CD98C9}" type="presOf" srcId="{535198FA-1CD5-4CD7-892B-0AFAE5FAC363}" destId="{7328831C-A7AC-48C3-B011-46774979AC11}" srcOrd="0" destOrd="0" presId="urn:microsoft.com/office/officeart/2005/8/layout/vList2"/>
    <dgm:cxn modelId="{E1ECDF51-7B04-4EBD-A118-99BC99BA5D1A}" type="presOf" srcId="{F168D0D7-DD15-4F69-8DEA-3E59459CE995}" destId="{5C44AA69-D049-4B71-AE2C-A2059F01FF6F}" srcOrd="0" destOrd="0" presId="urn:microsoft.com/office/officeart/2005/8/layout/vList2"/>
    <dgm:cxn modelId="{38603E03-169A-423B-8549-B170EDC1AD8F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16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1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Welche Angebote für </a:t>
          </a:r>
          <a:r>
            <a:rPr lang="de-DE" sz="1500" dirty="0" err="1" smtClean="0">
              <a:solidFill>
                <a:schemeClr val="bg1"/>
              </a:solidFill>
            </a:rPr>
            <a:t>Schüler:innen</a:t>
          </a:r>
          <a:r>
            <a:rPr lang="de-DE" sz="1500" dirty="0" smtClean="0">
              <a:solidFill>
                <a:schemeClr val="bg1"/>
              </a:solidFill>
            </a:rPr>
            <a:t> mit Lernschwierigkeiten gibt es?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75996" custLinFactNeighborX="-401" custLinFactNeighborY="227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C723028C-EAF5-4138-87F5-990BB2CA531F}" type="presOf" srcId="{535198FA-1CD5-4CD7-892B-0AFAE5FAC363}" destId="{7328831C-A7AC-48C3-B011-46774979AC11}" srcOrd="0" destOrd="0" presId="urn:microsoft.com/office/officeart/2005/8/layout/vList2"/>
    <dgm:cxn modelId="{F438C365-A530-4D57-8882-807F8B361AA7}" type="presOf" srcId="{F168D0D7-DD15-4F69-8DEA-3E59459CE995}" destId="{5C44AA69-D049-4B71-AE2C-A2059F01FF6F}" srcOrd="0" destOrd="0" presId="urn:microsoft.com/office/officeart/2005/8/layout/vList2"/>
    <dgm:cxn modelId="{0FB6D134-398F-427A-9481-132E6E81E470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3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17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1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Welche Kurse gibt es im Ganztag?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75996" custLinFactY="-100000" custLinFactNeighborX="3320" custLinFactNeighborY="-17547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FD291FC-5AB0-419A-960A-F47511C54922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D6F842F9-44F0-428F-B015-04B13B9B8588}" type="presOf" srcId="{535198FA-1CD5-4CD7-892B-0AFAE5FAC363}" destId="{7328831C-A7AC-48C3-B011-46774979AC11}" srcOrd="0" destOrd="0" presId="urn:microsoft.com/office/officeart/2005/8/layout/vList2"/>
    <dgm:cxn modelId="{51B86388-3939-48AF-9D71-76DC44825FB3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18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1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Wie viele Unterrichtsstunden pro Woche gibt es?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66320" custLinFactY="400000" custLinFactNeighborX="-3685" custLinFactNeighborY="45215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6B88429-C31B-4D32-9F29-5314C9B765DA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F1EE0562-E67F-47D4-9AC8-165CFB1DA8AF}" type="presOf" srcId="{535198FA-1CD5-4CD7-892B-0AFAE5FAC363}" destId="{7328831C-A7AC-48C3-B011-46774979AC11}" srcOrd="0" destOrd="0" presId="urn:microsoft.com/office/officeart/2005/8/layout/vList2"/>
    <dgm:cxn modelId="{793567F1-ECA6-4B36-9B2C-B46D053A6D56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3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19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1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Haben Sie noch Fragen an uns?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75996" custLinFactNeighborX="1235" custLinFactNeighborY="86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0648C8F1-152B-4554-89BB-F43F01311323}" type="presOf" srcId="{535198FA-1CD5-4CD7-892B-0AFAE5FAC363}" destId="{7328831C-A7AC-48C3-B011-46774979AC11}" srcOrd="0" destOrd="0" presId="urn:microsoft.com/office/officeart/2005/8/layout/vList2"/>
    <dgm:cxn modelId="{059B6275-1CFC-41A2-AE9E-D5FFF34DAB2E}" type="presOf" srcId="{F168D0D7-DD15-4F69-8DEA-3E59459CE995}" destId="{5C44AA69-D049-4B71-AE2C-A2059F01FF6F}" srcOrd="0" destOrd="0" presId="urn:microsoft.com/office/officeart/2005/8/layout/vList2"/>
    <dgm:cxn modelId="{B31779A4-9671-428A-BDB9-63BDC5017D1E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Förderung besonderer Begabungen und handwerklicher, technischer, musischer und künstlerischer Fähigkeite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0000" custScaleY="273634" custLinFactY="-124057" custLinFactNeighborX="2046" custLinFactNeighborY="-2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51B476E5-5B39-4D9C-8EFF-6E0E6419F5BF}" type="presOf" srcId="{F168D0D7-DD15-4F69-8DEA-3E59459CE995}" destId="{5C44AA69-D049-4B71-AE2C-A2059F01FF6F}" srcOrd="0" destOrd="0" presId="urn:microsoft.com/office/officeart/2005/8/layout/vList2"/>
    <dgm:cxn modelId="{DFB91CF9-BB35-4575-B2FF-F8117C5A35D3}" type="presOf" srcId="{535198FA-1CD5-4CD7-892B-0AFAE5FAC363}" destId="{7328831C-A7AC-48C3-B011-46774979AC11}" srcOrd="0" destOrd="0" presId="urn:microsoft.com/office/officeart/2005/8/layout/vList2"/>
    <dgm:cxn modelId="{BEF7CAB8-70EB-4244-94C2-9588A5F66207}" type="presParOf" srcId="{7328831C-A7AC-48C3-B011-46774979AC11}" destId="{5C44AA69-D049-4B71-AE2C-A2059F01FF6F}" srcOrd="0" destOrd="0" presId="urn:microsoft.com/office/officeart/2005/8/layout/vList2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2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20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1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Haben Sie noch Fragen an uns?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75996" custLinFactNeighborY="-1746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F2000B6E-74AB-4DBF-8AF7-ABF78B25E627}" type="presOf" srcId="{535198FA-1CD5-4CD7-892B-0AFAE5FAC363}" destId="{7328831C-A7AC-48C3-B011-46774979AC11}" srcOrd="0" destOrd="0" presId="urn:microsoft.com/office/officeart/2005/8/layout/vList2"/>
    <dgm:cxn modelId="{AF1ECA9F-B097-4283-B762-222A702FC235}" type="presOf" srcId="{F168D0D7-DD15-4F69-8DEA-3E59459CE995}" destId="{5C44AA69-D049-4B71-AE2C-A2059F01FF6F}" srcOrd="0" destOrd="0" presId="urn:microsoft.com/office/officeart/2005/8/layout/vList2"/>
    <dgm:cxn modelId="{073FC83A-F927-4FFD-A759-D90F3DFFE729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gemeinsames Lernen auf unterschiedlichen Anforderungsniveaus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05598" custLinFactNeighborY="-2218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E9E40274-A687-47A8-BCBC-B7C9C5243A84}" type="presOf" srcId="{F168D0D7-DD15-4F69-8DEA-3E59459CE995}" destId="{5C44AA69-D049-4B71-AE2C-A2059F01FF6F}" srcOrd="0" destOrd="0" presId="urn:microsoft.com/office/officeart/2005/8/layout/vList2"/>
    <dgm:cxn modelId="{62484020-AA56-4410-97F8-976545E85725}" type="presOf" srcId="{535198FA-1CD5-4CD7-892B-0AFAE5FAC363}" destId="{7328831C-A7AC-48C3-B011-46774979AC11}" srcOrd="0" destOrd="0" presId="urn:microsoft.com/office/officeart/2005/8/layout/vList2"/>
    <dgm:cxn modelId="{1DE83341-FB3D-4720-8855-E1FDB7E072D1}" type="presParOf" srcId="{7328831C-A7AC-48C3-B011-46774979AC11}" destId="{5C44AA69-D049-4B71-AE2C-A2059F01FF6F}" srcOrd="0" destOrd="0" presId="urn:microsoft.com/office/officeart/2005/8/layout/vList2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2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individuelle Begleitung zum höchstmöglichen Schulabschluss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44786" custLinFactNeighborX="372" custLinFactNeighborY="-23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4AAB00B-B75F-4E62-ACC5-8E0A6958A4E1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ACC33218-EC4E-4C24-89F6-54BE9B1B861C}" type="presOf" srcId="{535198FA-1CD5-4CD7-892B-0AFAE5FAC363}" destId="{7328831C-A7AC-48C3-B011-46774979AC11}" srcOrd="0" destOrd="0" presId="urn:microsoft.com/office/officeart/2005/8/layout/vList2"/>
    <dgm:cxn modelId="{DA6B1C27-4AED-478E-9A71-FE300F13FAF8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  <a:effectLst/>
            </a:rPr>
            <a:t>flexibler Einstieg in die 2. Fremdsprache</a:t>
          </a:r>
          <a:endParaRPr lang="de-DE" sz="1500" dirty="0">
            <a:solidFill>
              <a:schemeClr val="bg1"/>
            </a:solidFill>
            <a:effectLst/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Ang="0" custScaleY="105598" custLinFactY="-100000" custLinFactNeighborX="-35670" custLinFactNeighborY="-18576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6D7581D-EAB1-4F42-943A-989A0B983CAB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384A58A7-4BDD-4FA3-A984-43D24329767C}" type="presOf" srcId="{535198FA-1CD5-4CD7-892B-0AFAE5FAC363}" destId="{7328831C-A7AC-48C3-B011-46774979AC11}" srcOrd="0" destOrd="0" presId="urn:microsoft.com/office/officeart/2005/8/layout/vList2"/>
    <dgm:cxn modelId="{B0B9E4F0-8B33-43ED-AC90-93F21D5A1E39}" type="presParOf" srcId="{7328831C-A7AC-48C3-B011-46774979AC11}" destId="{5C44AA69-D049-4B71-AE2C-A2059F01FF6F}" srcOrd="0" destOrd="0" presId="urn:microsoft.com/office/officeart/2005/8/layout/vList2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3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8/layout/CircularPictureCallout" loCatId="picture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/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Vielfalt der Lern- </a:t>
          </a:r>
          <a:br>
            <a:rPr lang="de-DE" sz="1500" dirty="0" smtClean="0">
              <a:solidFill>
                <a:schemeClr val="bg1"/>
              </a:solidFill>
            </a:rPr>
          </a:br>
          <a:r>
            <a:rPr lang="de-DE" sz="1500" dirty="0" smtClean="0">
              <a:solidFill>
                <a:schemeClr val="bg1"/>
              </a:solidFill>
            </a:rPr>
            <a:t>und Arbeitsforme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>
        <a:solidFill>
          <a:srgbClr val="F4950A"/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endParaRPr lang="de-DE" baseline="0">
            <a:solidFill>
              <a:srgbClr val="FF9900"/>
            </a:solidFill>
          </a:endParaRPr>
        </a:p>
      </dgm:t>
    </dgm:pt>
    <dgm:pt modelId="{5430D817-79D9-45B1-867A-98859D8055D4}" type="pres">
      <dgm:prSet presAssocID="{535198FA-1CD5-4CD7-892B-0AFAE5FAC36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de-DE"/>
        </a:p>
      </dgm:t>
    </dgm:pt>
    <dgm:pt modelId="{D897D288-781D-47D6-A8BD-01CD5305B337}" type="pres">
      <dgm:prSet presAssocID="{535198FA-1CD5-4CD7-892B-0AFAE5FAC363}" presName="Name1" presStyleCnt="0"/>
      <dgm:spPr/>
      <dgm:t>
        <a:bodyPr/>
        <a:lstStyle/>
        <a:p>
          <a:endParaRPr lang="de-DE"/>
        </a:p>
      </dgm:t>
    </dgm:pt>
    <dgm:pt modelId="{B0E9FEE9-4775-4D45-86C4-101DE7FDB381}" type="pres">
      <dgm:prSet presAssocID="{1850AA12-DDDD-4CE6-B2D3-7438344BCC14}" presName="picture_1" presStyleCnt="0"/>
      <dgm:spPr/>
      <dgm:t>
        <a:bodyPr/>
        <a:lstStyle/>
        <a:p>
          <a:endParaRPr lang="de-DE"/>
        </a:p>
      </dgm:t>
    </dgm:pt>
    <dgm:pt modelId="{E1FAEA0D-A724-43CC-928B-9A3D3724F0CB}" type="pres">
      <dgm:prSet presAssocID="{1850AA12-DDDD-4CE6-B2D3-7438344BCC14}" presName="pictureRepeatNode" presStyleLbl="alignImgPlace1" presStyleIdx="0" presStyleCnt="1" custScaleX="108451" custScaleY="108451" custLinFactNeighborX="-1453"/>
      <dgm:spPr/>
      <dgm:t>
        <a:bodyPr/>
        <a:lstStyle/>
        <a:p>
          <a:endParaRPr lang="de-DE"/>
        </a:p>
      </dgm:t>
    </dgm:pt>
    <dgm:pt modelId="{2CE3B2F5-BF2B-4689-85D4-B8D9028FF04E}" type="pres">
      <dgm:prSet presAssocID="{F168D0D7-DD15-4F69-8DEA-3E59459CE995}" presName="text_1" presStyleLbl="node1" presStyleIdx="0" presStyleCnt="0" custScaleX="170797" custScaleY="87937" custLinFactNeighborX="-750" custLinFactNeighborY="-65131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E84ABD9-8CAD-4D86-BAD7-0167181A3BC9}" type="presOf" srcId="{F168D0D7-DD15-4F69-8DEA-3E59459CE995}" destId="{2CE3B2F5-BF2B-4689-85D4-B8D9028FF04E}" srcOrd="0" destOrd="0" presId="urn:microsoft.com/office/officeart/2008/layout/CircularPictureCallout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2B2260AC-B690-4D20-8480-93F923FCAF61}" type="presOf" srcId="{535198FA-1CD5-4CD7-892B-0AFAE5FAC363}" destId="{5430D817-79D9-45B1-867A-98859D8055D4}" srcOrd="0" destOrd="0" presId="urn:microsoft.com/office/officeart/2008/layout/CircularPictureCallout"/>
    <dgm:cxn modelId="{76E8B0ED-4A3E-4910-B453-16A40DEE69C1}" type="presOf" srcId="{1850AA12-DDDD-4CE6-B2D3-7438344BCC14}" destId="{E1FAEA0D-A724-43CC-928B-9A3D3724F0CB}" srcOrd="0" destOrd="0" presId="urn:microsoft.com/office/officeart/2008/layout/CircularPictureCallout"/>
    <dgm:cxn modelId="{D2A9E2B4-CD34-46B3-9CEB-D199BB288CDA}" type="presParOf" srcId="{5430D817-79D9-45B1-867A-98859D8055D4}" destId="{D897D288-781D-47D6-A8BD-01CD5305B337}" srcOrd="0" destOrd="0" presId="urn:microsoft.com/office/officeart/2008/layout/CircularPictureCallout"/>
    <dgm:cxn modelId="{16B1E3A6-9597-48EC-86E5-C9CD414F285C}" type="presParOf" srcId="{D897D288-781D-47D6-A8BD-01CD5305B337}" destId="{B0E9FEE9-4775-4D45-86C4-101DE7FDB381}" srcOrd="0" destOrd="0" presId="urn:microsoft.com/office/officeart/2008/layout/CircularPictureCallout"/>
    <dgm:cxn modelId="{F96C8CBB-4909-4555-9AC4-23DD26CB421C}" type="presParOf" srcId="{B0E9FEE9-4775-4D45-86C4-101DE7FDB381}" destId="{E1FAEA0D-A724-43CC-928B-9A3D3724F0CB}" srcOrd="0" destOrd="0" presId="urn:microsoft.com/office/officeart/2008/layout/CircularPictureCallout"/>
    <dgm:cxn modelId="{2E38B999-7F3A-4E19-90CF-8291DFC4A925}" type="presParOf" srcId="{D897D288-781D-47D6-A8BD-01CD5305B337}" destId="{2CE3B2F5-BF2B-4689-85D4-B8D9028FF04E}" srcOrd="1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44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kooperatives Lernen</a:t>
          </a: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NeighborX="-86871" custLinFactNeighborY="-43035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BBE0218-AA65-40C8-84CE-FABF9C378177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80F53C33-E62F-4327-A131-D0C4B1AA30EE}" type="presOf" srcId="{535198FA-1CD5-4CD7-892B-0AFAE5FAC363}" destId="{7328831C-A7AC-48C3-B011-46774979AC11}" srcOrd="0" destOrd="0" presId="urn:microsoft.com/office/officeart/2005/8/layout/vList2"/>
    <dgm:cxn modelId="{BCF6838E-0A44-4F46-8195-F6FBC6A62884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fächerübergreifende Projekte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34149" custLinFactNeighborX="-3055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5968F98-AD6D-4712-8ABA-D97BA2F9B30D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741CC221-4B1E-4764-9DF5-C4EF0480F019}" type="presOf" srcId="{535198FA-1CD5-4CD7-892B-0AFAE5FAC363}" destId="{7328831C-A7AC-48C3-B011-46774979AC11}" srcOrd="0" destOrd="0" presId="urn:microsoft.com/office/officeart/2005/8/layout/vList2"/>
    <dgm:cxn modelId="{BEFA2422-502E-47AB-861A-02F9E7B4D736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forschendes und entdeckendes Lerne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34149" custLinFactNeighborX="-3055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AA097EBA-0240-447E-8261-60661A68B8AA}" type="presOf" srcId="{F168D0D7-DD15-4F69-8DEA-3E59459CE995}" destId="{5C44AA69-D049-4B71-AE2C-A2059F01FF6F}" srcOrd="0" destOrd="0" presId="urn:microsoft.com/office/officeart/2005/8/layout/vList2"/>
    <dgm:cxn modelId="{39899D1A-A3E6-4F6F-9885-812A18C99D20}" type="presOf" srcId="{535198FA-1CD5-4CD7-892B-0AFAE5FAC363}" destId="{7328831C-A7AC-48C3-B011-46774979AC11}" srcOrd="0" destOrd="0" presId="urn:microsoft.com/office/officeart/2005/8/layout/vList2"/>
    <dgm:cxn modelId="{DF5B0287-2BCA-4167-B68C-FD26DEB63229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kooperatives Lernen</a:t>
          </a: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NeighborX="-86871" custLinFactNeighborY="-43035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15186227-FE0E-4975-9F51-B642D3D0163E}" type="presOf" srcId="{535198FA-1CD5-4CD7-892B-0AFAE5FAC363}" destId="{7328831C-A7AC-48C3-B011-46774979AC11}" srcOrd="0" destOrd="0" presId="urn:microsoft.com/office/officeart/2005/8/layout/vList2"/>
    <dgm:cxn modelId="{E0F28400-139A-41C5-87FC-90C4BA9F05BD}" type="presOf" srcId="{F168D0D7-DD15-4F69-8DEA-3E59459CE995}" destId="{5C44AA69-D049-4B71-AE2C-A2059F01FF6F}" srcOrd="0" destOrd="0" presId="urn:microsoft.com/office/officeart/2005/8/layout/vList2"/>
    <dgm:cxn modelId="{E55DBA56-8BF4-46F2-AB7F-729F47B13AE4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individuelle Unterrichtsangebote – Fördern und Forder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34149" custLinFactNeighborX="-3055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255CED5C-41FD-4945-8E12-6E572CF21444}" type="presOf" srcId="{535198FA-1CD5-4CD7-892B-0AFAE5FAC363}" destId="{7328831C-A7AC-48C3-B011-46774979AC11}" srcOrd="0" destOrd="0" presId="urn:microsoft.com/office/officeart/2005/8/layout/vList2"/>
    <dgm:cxn modelId="{22647AC2-BDA5-45AA-AF8D-3640474670CE}" type="presOf" srcId="{F168D0D7-DD15-4F69-8DEA-3E59459CE995}" destId="{5C44AA69-D049-4B71-AE2C-A2059F01FF6F}" srcOrd="0" destOrd="0" presId="urn:microsoft.com/office/officeart/2005/8/layout/vList2"/>
    <dgm:cxn modelId="{DDA2DB8D-8019-479C-A7B4-DD0C8D79DC53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6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selbstständiges Lernen – auch in Hausaufgabe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34149" custLinFactNeighborX="-3055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CF7DE0A-FE54-483D-921F-534CFD21461D}" type="presOf" srcId="{535198FA-1CD5-4CD7-892B-0AFAE5FAC363}" destId="{7328831C-A7AC-48C3-B011-46774979AC11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1289C2B5-30A7-48FD-ACA1-34279E7CA0F1}" type="presOf" srcId="{F168D0D7-DD15-4F69-8DEA-3E59459CE995}" destId="{5C44AA69-D049-4B71-AE2C-A2059F01FF6F}" srcOrd="0" destOrd="0" presId="urn:microsoft.com/office/officeart/2005/8/layout/vList2"/>
    <dgm:cxn modelId="{BA2618DB-3BA1-4D61-9637-684C9686E660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lebendige Diskussionskultur und Demokratieerziehung</a:t>
          </a: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0000" custScaleY="224093" custLinFactY="26668" custLinFactNeighborX="1191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4D19A058-3CB9-460C-834C-9FF694120A09}" type="presOf" srcId="{535198FA-1CD5-4CD7-892B-0AFAE5FAC363}" destId="{7328831C-A7AC-48C3-B011-46774979AC11}" srcOrd="0" destOrd="0" presId="urn:microsoft.com/office/officeart/2005/8/layout/vList2"/>
    <dgm:cxn modelId="{10C16B94-DFFA-45DC-BC20-2D5E493BF37E}" type="presOf" srcId="{F168D0D7-DD15-4F69-8DEA-3E59459CE995}" destId="{5C44AA69-D049-4B71-AE2C-A2059F01FF6F}" srcOrd="0" destOrd="0" presId="urn:microsoft.com/office/officeart/2005/8/layout/vList2"/>
    <dgm:cxn modelId="{81672BC2-1D37-4B6C-AB26-384EE3E6BA09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hochwertigen und leistungs-orientierten Fachunterricht</a:t>
          </a: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0000" custScaleY="224093" custLinFactNeighborX="-2088" custLinFactNeighborY="-6445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FA4ACCD-61CE-4BC0-BB14-6EABEC9A77CA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744020FE-655F-4C03-A66D-9AB9AF5C04B2}" type="presOf" srcId="{535198FA-1CD5-4CD7-892B-0AFAE5FAC363}" destId="{7328831C-A7AC-48C3-B011-46774979AC11}" srcOrd="0" destOrd="0" presId="urn:microsoft.com/office/officeart/2005/8/layout/vList2"/>
    <dgm:cxn modelId="{BCD14CDF-692F-4283-9C80-AB3BD1E2F947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in neun Jahren zum Abitur (ein Jahr länger als beim Gymnasium)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05598" custLinFactNeighborY="393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113BA538-D28B-46BD-9819-79E21E3A8593}" type="presOf" srcId="{F168D0D7-DD15-4F69-8DEA-3E59459CE995}" destId="{5C44AA69-D049-4B71-AE2C-A2059F01FF6F}" srcOrd="0" destOrd="0" presId="urn:microsoft.com/office/officeart/2005/8/layout/vList2"/>
    <dgm:cxn modelId="{A5A056FD-7B2F-4FA4-ACBF-633D4259AA9C}" type="presOf" srcId="{535198FA-1CD5-4CD7-892B-0AFAE5FAC363}" destId="{7328831C-A7AC-48C3-B011-46774979AC11}" srcOrd="0" destOrd="0" presId="urn:microsoft.com/office/officeart/2005/8/layout/vList2"/>
    <dgm:cxn modelId="{2A4CB0C5-0C32-414A-9F9A-E21CA9B8986A}" type="presParOf" srcId="{7328831C-A7AC-48C3-B011-46774979AC11}" destId="{5C44AA69-D049-4B71-AE2C-A2059F01FF6F}" srcOrd="0" destOrd="0" presId="urn:microsoft.com/office/officeart/2005/8/layout/vList2"/>
  </dgm:cxnLst>
  <dgm:bg>
    <a:effectLst/>
  </dgm:bg>
  <dgm:whole/>
  <dgm:extLst>
    <a:ext uri="http://schemas.microsoft.com/office/drawing/2008/diagram">
      <dsp:dataModelExt xmlns:dsp="http://schemas.microsoft.com/office/drawing/2008/diagram" relId="rId8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Exzellenzförderung in Naturwissenschaften, Sprachen, Künsten etc.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244476" custLinFactY="-188998" custLinFactNeighborX="-2588" custLinFactNeighborY="-2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4C285870-E38C-42F5-9456-617E80A37DF8}" type="presOf" srcId="{535198FA-1CD5-4CD7-892B-0AFAE5FAC363}" destId="{7328831C-A7AC-48C3-B011-46774979AC11}" srcOrd="0" destOrd="0" presId="urn:microsoft.com/office/officeart/2005/8/layout/vList2"/>
    <dgm:cxn modelId="{1597B5FD-0A99-450B-B07B-F2B036D3C53F}" type="presOf" srcId="{F168D0D7-DD15-4F69-8DEA-3E59459CE995}" destId="{5C44AA69-D049-4B71-AE2C-A2059F01FF6F}" srcOrd="0" destOrd="0" presId="urn:microsoft.com/office/officeart/2005/8/layout/vList2"/>
    <dgm:cxn modelId="{9D93B810-6ECB-43AB-B123-96A19A0126DC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</dgm:ptLst>
  <dgm:cxnLst>
    <dgm:cxn modelId="{251BBCAE-A17A-4C7C-B3ED-ECE303AC9E50}" type="presOf" srcId="{535198FA-1CD5-4CD7-892B-0AFAE5FAC363}" destId="{7328831C-A7AC-48C3-B011-46774979AC1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</dgm:ptLst>
  <dgm:cxnLst>
    <dgm:cxn modelId="{4D86EA62-0B25-403E-835F-586CF0271AFA}" type="presOf" srcId="{535198FA-1CD5-4CD7-892B-0AFAE5FAC363}" destId="{7328831C-A7AC-48C3-B011-46774979AC1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ganztägige Bildung und Betreuung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Ang="0" custLinFactY="-100000" custLinFactNeighborX="-35670" custLinFactNeighborY="-18576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B2BD4A2E-CC99-43A0-BC4C-CC31E257FD39}" type="presOf" srcId="{F168D0D7-DD15-4F69-8DEA-3E59459CE995}" destId="{5C44AA69-D049-4B71-AE2C-A2059F01FF6F}" srcOrd="0" destOrd="0" presId="urn:microsoft.com/office/officeart/2005/8/layout/vList2"/>
    <dgm:cxn modelId="{CEF9A1A7-9264-47BB-B6B4-83D6AF5A1D9B}" type="presOf" srcId="{535198FA-1CD5-4CD7-892B-0AFAE5FAC363}" destId="{7328831C-A7AC-48C3-B011-46774979AC11}" srcOrd="0" destOrd="0" presId="urn:microsoft.com/office/officeart/2005/8/layout/vList2"/>
    <dgm:cxn modelId="{BBC32EDB-BFBB-492E-A4BD-F79ED98AA3E3}" type="presParOf" srcId="{7328831C-A7AC-48C3-B011-46774979AC11}" destId="{5C44AA69-D049-4B71-AE2C-A2059F01FF6F}" srcOrd="0" destOrd="0" presId="urn:microsoft.com/office/officeart/2005/8/layout/vList2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2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Umfangreiche</a:t>
          </a:r>
          <a:r>
            <a:rPr lang="de-DE" sz="1500" baseline="0" dirty="0" smtClean="0">
              <a:solidFill>
                <a:schemeClr val="bg1"/>
              </a:solidFill>
            </a:rPr>
            <a:t> Berufs- und Studienorientierung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44681" custLinFactNeighborX="-6616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8C7AC903-6865-4C05-859F-2ACA3B786E18}" type="presOf" srcId="{F168D0D7-DD15-4F69-8DEA-3E59459CE995}" destId="{5C44AA69-D049-4B71-AE2C-A2059F01FF6F}" srcOrd="0" destOrd="0" presId="urn:microsoft.com/office/officeart/2005/8/layout/vList2"/>
    <dgm:cxn modelId="{7577AE5F-E993-422E-8BD0-9D8FDBAB3434}" type="presOf" srcId="{535198FA-1CD5-4CD7-892B-0AFAE5FAC363}" destId="{7328831C-A7AC-48C3-B011-46774979AC11}" srcOrd="0" destOrd="0" presId="urn:microsoft.com/office/officeart/2005/8/layout/vList2"/>
    <dgm:cxn modelId="{E637FA5F-6859-46E8-B41F-5B4D8B004F37}" type="presParOf" srcId="{7328831C-A7AC-48C3-B011-46774979AC11}" destId="{5C44AA69-D049-4B71-AE2C-A2059F01FF6F}" srcOrd="0" destOrd="0" presId="urn:microsoft.com/office/officeart/2005/8/layout/vList2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2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fächerübergreifende Projekte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34149" custLinFactNeighborX="-3055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D40E95ED-060D-44F0-96FC-F1DAD52838EA}" type="presOf" srcId="{F168D0D7-DD15-4F69-8DEA-3E59459CE995}" destId="{5C44AA69-D049-4B71-AE2C-A2059F01FF6F}" srcOrd="0" destOrd="0" presId="urn:microsoft.com/office/officeart/2005/8/layout/vList2"/>
    <dgm:cxn modelId="{89DD70F4-7E46-4C36-A368-3012CB2F4E6B}" type="presOf" srcId="{535198FA-1CD5-4CD7-892B-0AFAE5FAC363}" destId="{7328831C-A7AC-48C3-B011-46774979AC11}" srcOrd="0" destOrd="0" presId="urn:microsoft.com/office/officeart/2005/8/layout/vList2"/>
    <dgm:cxn modelId="{D2A7DB0D-6750-4170-81CF-3A1B9ABE69A6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kleine Klassen mit 23 - 25 Schüler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-22595" custLinFactNeighborX="1331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7186865-30BA-446B-8E6A-CEF13FCB5DDF}" type="presOf" srcId="{535198FA-1CD5-4CD7-892B-0AFAE5FAC363}" destId="{7328831C-A7AC-48C3-B011-46774979AC11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D4C8CC5A-4CAE-44B2-B0A0-8D03CAABC636}" type="presOf" srcId="{F168D0D7-DD15-4F69-8DEA-3E59459CE995}" destId="{5C44AA69-D049-4B71-AE2C-A2059F01FF6F}" srcOrd="0" destOrd="0" presId="urn:microsoft.com/office/officeart/2005/8/layout/vList2"/>
    <dgm:cxn modelId="{C95AC888-0E8B-4B0D-A56F-3B1F3907995D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alle Abschlüsse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44786" custLinFactNeighborX="-32594" custLinFactNeighborY="-7423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91D9CAA5-4E00-4B5A-878E-3EEF1078A77D}" type="presOf" srcId="{535198FA-1CD5-4CD7-892B-0AFAE5FAC363}" destId="{7328831C-A7AC-48C3-B011-46774979AC11}" srcOrd="0" destOrd="0" presId="urn:microsoft.com/office/officeart/2005/8/layout/vList2"/>
    <dgm:cxn modelId="{47285521-FF21-48DA-A243-F8E60EA157F7}" type="presOf" srcId="{F168D0D7-DD15-4F69-8DEA-3E59459CE995}" destId="{5C44AA69-D049-4B71-AE2C-A2059F01FF6F}" srcOrd="0" destOrd="0" presId="urn:microsoft.com/office/officeart/2005/8/layout/vList2"/>
    <dgm:cxn modelId="{297F8059-B65E-4DE8-9280-5B8845E16728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3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Förderung besonderer Begabung und handwerklicher, technischer, musischer und künstlerischer Fähigkeite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0000" custScaleY="273634" custLinFactY="-200000" custLinFactNeighborX="-33627" custLinFactNeighborY="-202951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80E4E34D-4F1C-47FB-92FB-5A7D0CDCAFAD}" type="presOf" srcId="{F168D0D7-DD15-4F69-8DEA-3E59459CE995}" destId="{5C44AA69-D049-4B71-AE2C-A2059F01FF6F}" srcOrd="0" destOrd="0" presId="urn:microsoft.com/office/officeart/2005/8/layout/vList2"/>
    <dgm:cxn modelId="{CB3E33A6-4262-4353-9985-879D22DB4B81}" type="presOf" srcId="{535198FA-1CD5-4CD7-892B-0AFAE5FAC363}" destId="{7328831C-A7AC-48C3-B011-46774979AC11}" srcOrd="0" destOrd="0" presId="urn:microsoft.com/office/officeart/2005/8/layout/vList2"/>
    <dgm:cxn modelId="{BB2F7DC3-683D-420A-B3B4-FF47B7DBA02F}" type="presParOf" srcId="{7328831C-A7AC-48C3-B011-46774979AC11}" destId="{5C44AA69-D049-4B71-AE2C-A2059F01FF6F}" srcOrd="0" destOrd="0" presId="urn:microsoft.com/office/officeart/2005/8/layout/vList2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4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Multiprofessionelle Teams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-22595" custLinFactNeighborX="1331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7307E9C9-292D-42C0-8D81-5145A3C0A1BB}" type="presOf" srcId="{535198FA-1CD5-4CD7-892B-0AFAE5FAC363}" destId="{7328831C-A7AC-48C3-B011-46774979AC11}" srcOrd="0" destOrd="0" presId="urn:microsoft.com/office/officeart/2005/8/layout/vList2"/>
    <dgm:cxn modelId="{FB0DBDCD-430E-4440-A323-EBE343B1AE6D}" type="presOf" srcId="{F168D0D7-DD15-4F69-8DEA-3E59459CE995}" destId="{5C44AA69-D049-4B71-AE2C-A2059F01FF6F}" srcOrd="0" destOrd="0" presId="urn:microsoft.com/office/officeart/2005/8/layout/vList2"/>
    <dgm:cxn modelId="{76E8B245-970F-418A-9858-F97558019638}" type="presParOf" srcId="{7328831C-A7AC-48C3-B011-46774979AC11}" destId="{5C44AA69-D049-4B71-AE2C-A2059F01FF6F}" srcOrd="0" destOrd="0" presId="urn:microsoft.com/office/officeart/2005/8/layout/vList2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4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4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In neun Jahren zum Abitur (ein Jahr länger als beim Gymnasium)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67292" custLinFactNeighborY="393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74903814-1150-4DC7-9CF6-6AC28D479411}" type="presOf" srcId="{535198FA-1CD5-4CD7-892B-0AFAE5FAC363}" destId="{7328831C-A7AC-48C3-B011-46774979AC11}" srcOrd="0" destOrd="0" presId="urn:microsoft.com/office/officeart/2005/8/layout/vList2"/>
    <dgm:cxn modelId="{136DB360-3E42-488A-9853-4C09F7CA9C52}" type="presOf" srcId="{F168D0D7-DD15-4F69-8DEA-3E59459CE995}" destId="{5C44AA69-D049-4B71-AE2C-A2059F01FF6F}" srcOrd="0" destOrd="0" presId="urn:microsoft.com/office/officeart/2005/8/layout/vList2"/>
    <dgm:cxn modelId="{9783B65C-3A37-4E45-B493-9BAB06688092}" type="presParOf" srcId="{7328831C-A7AC-48C3-B011-46774979AC11}" destId="{5C44AA69-D049-4B71-AE2C-A2059F01FF6F}" srcOrd="0" destOrd="0" presId="urn:microsoft.com/office/officeart/2005/8/layout/vList2"/>
  </dgm:cxnLst>
  <dgm:bg>
    <a:effectLst/>
  </dgm:bg>
  <dgm:whole/>
  <dgm:extLst>
    <a:ext uri="http://schemas.microsoft.com/office/drawing/2008/diagram">
      <dsp:dataModelExt xmlns:dsp="http://schemas.microsoft.com/office/drawing/2008/diagram" relId="rId5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5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Individuelle Begleitung zum höchstmöglichen Schulabschluss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44786" custLinFactNeighborX="372" custLinFactNeighborY="-23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BDB3335A-FFF6-4091-B30F-47813B965AD3}" type="presOf" srcId="{535198FA-1CD5-4CD7-892B-0AFAE5FAC363}" destId="{7328831C-A7AC-48C3-B011-46774979AC11}" srcOrd="0" destOrd="0" presId="urn:microsoft.com/office/officeart/2005/8/layout/vList2"/>
    <dgm:cxn modelId="{BDF7F022-F135-402C-B56C-A7A0978DD4DB}" type="presOf" srcId="{F168D0D7-DD15-4F69-8DEA-3E59459CE995}" destId="{5C44AA69-D049-4B71-AE2C-A2059F01FF6F}" srcOrd="0" destOrd="0" presId="urn:microsoft.com/office/officeart/2005/8/layout/vList2"/>
    <dgm:cxn modelId="{FF762708-D130-4778-9FFF-83EC0C551EC3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6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umfangreiche</a:t>
          </a:r>
          <a:r>
            <a:rPr lang="de-DE" sz="1500" baseline="0" dirty="0" smtClean="0">
              <a:solidFill>
                <a:schemeClr val="bg1"/>
              </a:solidFill>
            </a:rPr>
            <a:t> Berufs- und Studienorientierung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40797" custLinFactNeighborY="-3675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8EE6B49D-1A97-4501-8524-8662E3F06179}" type="presOf" srcId="{F168D0D7-DD15-4F69-8DEA-3E59459CE995}" destId="{5C44AA69-D049-4B71-AE2C-A2059F01FF6F}" srcOrd="0" destOrd="0" presId="urn:microsoft.com/office/officeart/2005/8/layout/vList2"/>
    <dgm:cxn modelId="{3EB4DA1A-DCAA-462A-B2D4-3A1A0D3E462C}" type="presOf" srcId="{535198FA-1CD5-4CD7-892B-0AFAE5FAC363}" destId="{7328831C-A7AC-48C3-B011-46774979AC11}" srcOrd="0" destOrd="0" presId="urn:microsoft.com/office/officeart/2005/8/layout/vList2"/>
    <dgm:cxn modelId="{2D1E423D-0CD6-4A96-B60B-604C1BF1F86B}" type="presParOf" srcId="{7328831C-A7AC-48C3-B011-46774979AC11}" destId="{5C44AA69-D049-4B71-AE2C-A2059F01FF6F}" srcOrd="0" destOrd="0" presId="urn:microsoft.com/office/officeart/2005/8/layout/vList2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6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7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kleine Klassen mit 23 - 25 </a:t>
          </a:r>
          <a:r>
            <a:rPr lang="de-DE" sz="1500" dirty="0" err="1" smtClean="0">
              <a:solidFill>
                <a:schemeClr val="bg1"/>
              </a:solidFill>
            </a:rPr>
            <a:t>Schüler:inne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39037" custLinFactY="-22595" custLinFactNeighborX="1331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5348E851-2733-4C71-BF73-3BE7D56DB7F4}" type="presOf" srcId="{F168D0D7-DD15-4F69-8DEA-3E59459CE995}" destId="{5C44AA69-D049-4B71-AE2C-A2059F01FF6F}" srcOrd="0" destOrd="0" presId="urn:microsoft.com/office/officeart/2005/8/layout/vList2"/>
    <dgm:cxn modelId="{35384926-64FC-4596-A323-7637A73A9665}" type="presOf" srcId="{535198FA-1CD5-4CD7-892B-0AFAE5FAC363}" destId="{7328831C-A7AC-48C3-B011-46774979AC11}" srcOrd="0" destOrd="0" presId="urn:microsoft.com/office/officeart/2005/8/layout/vList2"/>
    <dgm:cxn modelId="{0D042921-575F-45B3-8F8F-1CC2B6B9F2F1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8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alle Abschlüsse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pPr algn="ctr"/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pPr algn="ctr"/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04467" custLinFactNeighborX="2735" custLinFactNeighborY="-23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A5B63F3E-5AE5-4274-8185-5AE2C806E74C}" type="presOf" srcId="{F168D0D7-DD15-4F69-8DEA-3E59459CE995}" destId="{5C44AA69-D049-4B71-AE2C-A2059F01FF6F}" srcOrd="0" destOrd="0" presId="urn:microsoft.com/office/officeart/2005/8/layout/vList2"/>
    <dgm:cxn modelId="{D00B75F5-AAED-4647-AB64-C61B258CBD7F}" type="presOf" srcId="{535198FA-1CD5-4CD7-892B-0AFAE5FAC363}" destId="{7328831C-A7AC-48C3-B011-46774979AC11}" srcOrd="0" destOrd="0" presId="urn:microsoft.com/office/officeart/2005/8/layout/vList2"/>
    <dgm:cxn modelId="{BF72DBF7-970C-4C93-AEC6-1F9E7E31D4C0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7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9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Förderung besonderer Begabungen und handwerklicher, technischer, musischer und künstlerischer Fähigkeite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0000" custScaleY="273634" custLinFactY="-124057" custLinFactNeighborX="2046" custLinFactNeighborY="-2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CA7336AC-7AFE-4793-9475-1A84C1EEA93A}" type="presOf" srcId="{F168D0D7-DD15-4F69-8DEA-3E59459CE995}" destId="{5C44AA69-D049-4B71-AE2C-A2059F01FF6F}" srcOrd="0" destOrd="0" presId="urn:microsoft.com/office/officeart/2005/8/layout/vList2"/>
    <dgm:cxn modelId="{646A98ED-D543-4DCC-9C34-F230011911FA}" type="presOf" srcId="{535198FA-1CD5-4CD7-892B-0AFAE5FAC363}" destId="{7328831C-A7AC-48C3-B011-46774979AC11}" srcOrd="0" destOrd="0" presId="urn:microsoft.com/office/officeart/2005/8/layout/vList2"/>
    <dgm:cxn modelId="{7BB865DD-1EBE-4CB5-96E8-23C3825CBD39}" type="presParOf" srcId="{7328831C-A7AC-48C3-B011-46774979AC11}" destId="{5C44AA69-D049-4B71-AE2C-A2059F01FF6F}" srcOrd="0" destOrd="0" presId="urn:microsoft.com/office/officeart/2005/8/layout/vList2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7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forschendes und entdeckendes Lerne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34149" custLinFactNeighborX="-3055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3177B583-D042-49B3-8BC4-965B1DF7808B}" type="presOf" srcId="{F168D0D7-DD15-4F69-8DEA-3E59459CE995}" destId="{5C44AA69-D049-4B71-AE2C-A2059F01FF6F}" srcOrd="0" destOrd="0" presId="urn:microsoft.com/office/officeart/2005/8/layout/vList2"/>
    <dgm:cxn modelId="{FB3D6216-539A-4806-B689-F8AD1954ED54}" type="presOf" srcId="{535198FA-1CD5-4CD7-892B-0AFAE5FAC363}" destId="{7328831C-A7AC-48C3-B011-46774979AC11}" srcOrd="0" destOrd="0" presId="urn:microsoft.com/office/officeart/2005/8/layout/vList2"/>
    <dgm:cxn modelId="{35EB5919-1D3C-4236-A7F5-AE8CD64F9880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0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gemeinsames Lernen auf unterschiedlichen Anforderungsniveaus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NeighborX="460" custLinFactNeighborY="-45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8C7E5749-E2FE-4751-BDA9-F03B7485B74A}" type="presOf" srcId="{535198FA-1CD5-4CD7-892B-0AFAE5FAC363}" destId="{7328831C-A7AC-48C3-B011-46774979AC11}" srcOrd="0" destOrd="0" presId="urn:microsoft.com/office/officeart/2005/8/layout/vList2"/>
    <dgm:cxn modelId="{D03ED624-0007-4590-851E-CCA04E2C0CFE}" type="presOf" srcId="{F168D0D7-DD15-4F69-8DEA-3E59459CE995}" destId="{5C44AA69-D049-4B71-AE2C-A2059F01FF6F}" srcOrd="0" destOrd="0" presId="urn:microsoft.com/office/officeart/2005/8/layout/vList2"/>
    <dgm:cxn modelId="{231611A4-3279-42E3-A1B2-3CD859C11155}" type="presParOf" srcId="{7328831C-A7AC-48C3-B011-46774979AC11}" destId="{5C44AA69-D049-4B71-AE2C-A2059F01FF6F}" srcOrd="0" destOrd="0" presId="urn:microsoft.com/office/officeart/2005/8/layout/vList2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8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1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in neun Jahren zum Abitur (ein Jahr länger als beim Gymnasium)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pPr algn="ctr"/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pPr algn="ctr"/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67292" custLinFactNeighborY="393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F2E87DD1-B71F-4B6A-9746-C9B6B4727ADC}" type="presOf" srcId="{F168D0D7-DD15-4F69-8DEA-3E59459CE995}" destId="{5C44AA69-D049-4B71-AE2C-A2059F01FF6F}" srcOrd="0" destOrd="0" presId="urn:microsoft.com/office/officeart/2005/8/layout/vList2"/>
    <dgm:cxn modelId="{872610DF-FF12-4880-B7AB-71D06B034962}" type="presOf" srcId="{535198FA-1CD5-4CD7-892B-0AFAE5FAC363}" destId="{7328831C-A7AC-48C3-B011-46774979AC11}" srcOrd="0" destOrd="0" presId="urn:microsoft.com/office/officeart/2005/8/layout/vList2"/>
    <dgm:cxn modelId="{5406C78E-3034-4368-B978-94583F7AC538}" type="presParOf" srcId="{7328831C-A7AC-48C3-B011-46774979AC11}" destId="{5C44AA69-D049-4B71-AE2C-A2059F01FF6F}" srcOrd="0" destOrd="0" presId="urn:microsoft.com/office/officeart/2005/8/layout/vList2"/>
  </dgm:cxnLst>
  <dgm:bg>
    <a:effectLst/>
  </dgm:bg>
  <dgm:whole/>
  <dgm:extLst>
    <a:ext uri="http://schemas.microsoft.com/office/drawing/2008/diagram">
      <dsp:dataModelExt xmlns:dsp="http://schemas.microsoft.com/office/drawing/2008/diagram" relId="rId8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2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individuelle Begleitung zum höchstmöglichen Schulabschluss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44786" custLinFactNeighborX="372" custLinFactNeighborY="-23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544B1B12-16BA-406D-87AB-E18BC06969A1}" type="presOf" srcId="{F168D0D7-DD15-4F69-8DEA-3E59459CE995}" destId="{5C44AA69-D049-4B71-AE2C-A2059F01FF6F}" srcOrd="0" destOrd="0" presId="urn:microsoft.com/office/officeart/2005/8/layout/vList2"/>
    <dgm:cxn modelId="{53E756E5-4C0B-452B-880C-EB89B49BF951}" type="presOf" srcId="{535198FA-1CD5-4CD7-892B-0AFAE5FAC363}" destId="{7328831C-A7AC-48C3-B011-46774979AC11}" srcOrd="0" destOrd="0" presId="urn:microsoft.com/office/officeart/2005/8/layout/vList2"/>
    <dgm:cxn modelId="{36F46DDB-2343-4A88-928B-BFA894B30679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3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  <a:effectLst/>
            </a:rPr>
            <a:t>flexibler Einstieg in die 2. Fremdsprache</a:t>
          </a:r>
          <a:endParaRPr lang="de-DE" sz="1500" dirty="0">
            <a:solidFill>
              <a:schemeClr val="bg1"/>
            </a:solidFill>
            <a:effectLst/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Ang="0" custScaleY="116424" custLinFactY="-100000" custLinFactNeighborX="-35670" custLinFactNeighborY="-18576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2FD83E81-B4B3-420D-876A-4480E44CAED8}" type="presOf" srcId="{F168D0D7-DD15-4F69-8DEA-3E59459CE995}" destId="{5C44AA69-D049-4B71-AE2C-A2059F01FF6F}" srcOrd="0" destOrd="0" presId="urn:microsoft.com/office/officeart/2005/8/layout/vList2"/>
    <dgm:cxn modelId="{C691D2C5-8790-4E02-9EE6-38B4C0000ED3}" type="presOf" srcId="{535198FA-1CD5-4CD7-892B-0AFAE5FAC363}" destId="{7328831C-A7AC-48C3-B011-46774979AC11}" srcOrd="0" destOrd="0" presId="urn:microsoft.com/office/officeart/2005/8/layout/vList2"/>
    <dgm:cxn modelId="{DDC32111-4A23-4D55-8B57-C89B2DC571CF}" type="presParOf" srcId="{7328831C-A7AC-48C3-B011-46774979AC11}" destId="{5C44AA69-D049-4B71-AE2C-A2059F01FF6F}" srcOrd="0" destOrd="0" presId="urn:microsoft.com/office/officeart/2005/8/layout/vList2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9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4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acht Jahre bis zum Abitur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44786" custLinFactNeighborY="-1100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40D43472-B57B-4B68-9E3B-13742C133E9F}" type="presOf" srcId="{F168D0D7-DD15-4F69-8DEA-3E59459CE995}" destId="{5C44AA69-D049-4B71-AE2C-A2059F01FF6F}" srcOrd="0" destOrd="0" presId="urn:microsoft.com/office/officeart/2005/8/layout/vList2"/>
    <dgm:cxn modelId="{342EA2D6-3BD1-41D2-8C01-A8E23FD5813D}" type="presOf" srcId="{535198FA-1CD5-4CD7-892B-0AFAE5FAC363}" destId="{7328831C-A7AC-48C3-B011-46774979AC11}" srcOrd="0" destOrd="0" presId="urn:microsoft.com/office/officeart/2005/8/layout/vList2"/>
    <dgm:cxn modelId="{B41F3D36-D142-4CE0-8A62-2426757C9C80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10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5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hohe Anforderungen und hohes Leistungsniveau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0000" custScaleY="273634" custLinFactNeighborX="-1448" custLinFactNeighborY="-13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4A2F99EE-22BC-46AE-B91E-955D375DCBA8}" type="presOf" srcId="{F168D0D7-DD15-4F69-8DEA-3E59459CE995}" destId="{5C44AA69-D049-4B71-AE2C-A2059F01FF6F}" srcOrd="0" destOrd="0" presId="urn:microsoft.com/office/officeart/2005/8/layout/vList2"/>
    <dgm:cxn modelId="{7F9E5E2D-5A0C-4BF6-A283-133C9B07107B}" type="presOf" srcId="{535198FA-1CD5-4CD7-892B-0AFAE5FAC363}" destId="{7328831C-A7AC-48C3-B011-46774979AC11}" srcOrd="0" destOrd="0" presId="urn:microsoft.com/office/officeart/2005/8/layout/vList2"/>
    <dgm:cxn modelId="{8924A045-FC31-461A-9C27-32300B73E0A0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6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zielgleicher Unterricht: vertiefte Allgemeinbildung 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44786" custLinFactNeighborX="10227" custLinFactNeighborY="-558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ED3FC93-FF56-4227-918C-F52EFC63FB1D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B7352659-5AD6-458B-B364-0F4DCAEC66A0}" type="presOf" srcId="{535198FA-1CD5-4CD7-892B-0AFAE5FAC363}" destId="{7328831C-A7AC-48C3-B011-46774979AC11}" srcOrd="0" destOrd="0" presId="urn:microsoft.com/office/officeart/2005/8/layout/vList2"/>
    <dgm:cxn modelId="{2163BE0D-B832-41D4-81C9-E113BA30D8C1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7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häufig homogenere Lerngruppe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67292" custLinFactNeighborY="-794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ABE4DC96-911E-43E5-8B6F-BD0C44E06E9D}" type="presOf" srcId="{535198FA-1CD5-4CD7-892B-0AFAE5FAC363}" destId="{7328831C-A7AC-48C3-B011-46774979AC11}" srcOrd="0" destOrd="0" presId="urn:microsoft.com/office/officeart/2005/8/layout/vList2"/>
    <dgm:cxn modelId="{2F8D9A6F-8D30-4638-8158-8E7037DD5B0E}" type="presOf" srcId="{F168D0D7-DD15-4F69-8DEA-3E59459CE995}" destId="{5C44AA69-D049-4B71-AE2C-A2059F01FF6F}" srcOrd="0" destOrd="0" presId="urn:microsoft.com/office/officeart/2005/8/layout/vList2"/>
    <dgm:cxn modelId="{6A0FB3D2-FB00-4785-908C-1E00B4E0051D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8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2. Fremdsprache in der Regel ab Klasse 6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-22595" custLinFactNeighborX="1331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DAD6ABE-FB19-446D-88FF-167DB066F9C4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7B9C3AB1-F280-448E-BD2A-32D17A44A433}" type="presOf" srcId="{535198FA-1CD5-4CD7-892B-0AFAE5FAC363}" destId="{7328831C-A7AC-48C3-B011-46774979AC11}" srcOrd="0" destOrd="0" presId="urn:microsoft.com/office/officeart/2005/8/layout/vList2"/>
    <dgm:cxn modelId="{C13DE157-8FE7-4409-9B15-2446DA2F3090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9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28 </a:t>
          </a:r>
          <a:r>
            <a:rPr lang="de-DE" sz="1500" dirty="0" err="1" smtClean="0">
              <a:solidFill>
                <a:schemeClr val="bg1"/>
              </a:solidFill>
            </a:rPr>
            <a:t>Schüler:innen</a:t>
          </a:r>
          <a:r>
            <a:rPr lang="de-DE" sz="1500" dirty="0" smtClean="0">
              <a:solidFill>
                <a:schemeClr val="bg1"/>
              </a:solidFill>
            </a:rPr>
            <a:t> in einer Klasse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Ang="0" custLinFactY="-100000" custLinFactNeighborX="-35670" custLinFactNeighborY="-18576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25EEFE85-C656-44EF-B103-A36157C9CAE4}" type="presOf" srcId="{F168D0D7-DD15-4F69-8DEA-3E59459CE995}" destId="{5C44AA69-D049-4B71-AE2C-A2059F01FF6F}" srcOrd="0" destOrd="0" presId="urn:microsoft.com/office/officeart/2005/8/layout/vList2"/>
    <dgm:cxn modelId="{647F8DA3-7BC8-4960-959F-CDB406149ECF}" type="presOf" srcId="{535198FA-1CD5-4CD7-892B-0AFAE5FAC363}" destId="{7328831C-A7AC-48C3-B011-46774979AC11}" srcOrd="0" destOrd="0" presId="urn:microsoft.com/office/officeart/2005/8/layout/vList2"/>
    <dgm:cxn modelId="{A85AEF3D-A3A4-4E6D-809B-52D6FDBF2241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individuelle Unterrichtsangebote – Fördern und Forder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34149" custLinFactNeighborX="-3055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D87EA339-0981-455B-90B8-D38DB83456AA}" type="presOf" srcId="{535198FA-1CD5-4CD7-892B-0AFAE5FAC363}" destId="{7328831C-A7AC-48C3-B011-46774979AC11}" srcOrd="0" destOrd="0" presId="urn:microsoft.com/office/officeart/2005/8/layout/vList2"/>
    <dgm:cxn modelId="{1177D83E-B303-4800-BD51-B24FDC53DD13}" type="presOf" srcId="{F168D0D7-DD15-4F69-8DEA-3E59459CE995}" destId="{5C44AA69-D049-4B71-AE2C-A2059F01FF6F}" srcOrd="0" destOrd="0" presId="urn:microsoft.com/office/officeart/2005/8/layout/vList2"/>
    <dgm:cxn modelId="{8486BA14-0E2D-41A6-B838-627437A969EC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0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</dgm:ptLst>
  <dgm:cxnLst>
    <dgm:cxn modelId="{45A573C1-90B9-4BA8-9CF0-39D6842F8273}" type="presOf" srcId="{535198FA-1CD5-4CD7-892B-0AFAE5FAC363}" destId="{7328831C-A7AC-48C3-B011-46774979AC1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1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</dgm:ptLst>
  <dgm:cxnLst>
    <dgm:cxn modelId="{EB3BD48B-1453-4825-B986-C60C25958FBD}" type="presOf" srcId="{535198FA-1CD5-4CD7-892B-0AFAE5FAC363}" destId="{7328831C-A7AC-48C3-B011-46774979AC1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2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</dgm:ptLst>
  <dgm:cxnLst>
    <dgm:cxn modelId="{89C26F0E-93C9-4D49-93E2-C1437156FAA5}" type="presOf" srcId="{535198FA-1CD5-4CD7-892B-0AFAE5FAC363}" destId="{7328831C-A7AC-48C3-B011-46774979AC1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3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28 </a:t>
          </a:r>
          <a:r>
            <a:rPr lang="de-DE" sz="1500" dirty="0" err="1" smtClean="0">
              <a:solidFill>
                <a:schemeClr val="bg1"/>
              </a:solidFill>
            </a:rPr>
            <a:t>Schüler:innen</a:t>
          </a:r>
          <a:r>
            <a:rPr lang="de-DE" sz="1500" dirty="0" smtClean="0">
              <a:solidFill>
                <a:schemeClr val="bg1"/>
              </a:solidFill>
            </a:rPr>
            <a:t> in einer Klasse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Ang="0" custLinFactY="-100000" custLinFactNeighborX="-35670" custLinFactNeighborY="-18576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D16C356-5FBA-4758-A873-F628158F04B3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0CA0D95D-3623-467E-BDF7-AA7E9C623362}" type="presOf" srcId="{535198FA-1CD5-4CD7-892B-0AFAE5FAC363}" destId="{7328831C-A7AC-48C3-B011-46774979AC11}" srcOrd="0" destOrd="0" presId="urn:microsoft.com/office/officeart/2005/8/layout/vList2"/>
    <dgm:cxn modelId="{9E22EB19-7B63-4D63-8909-2F218D96A7F4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4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Exzellenzförderung in Naturwissenschaften, Sprachen, Künsten etc.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244476" custLinFactNeighborX="5830" custLinFactNeighborY="-11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FA56D5C-0966-49A2-AB68-CDF478750C01}" type="presOf" srcId="{535198FA-1CD5-4CD7-892B-0AFAE5FAC363}" destId="{7328831C-A7AC-48C3-B011-46774979AC11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5109FE31-EE4C-4643-9B69-8EE65B305D5F}" type="presOf" srcId="{F168D0D7-DD15-4F69-8DEA-3E59459CE995}" destId="{5C44AA69-D049-4B71-AE2C-A2059F01FF6F}" srcOrd="0" destOrd="0" presId="urn:microsoft.com/office/officeart/2005/8/layout/vList2"/>
    <dgm:cxn modelId="{D1BBA7AC-6026-4BDB-9B79-F3FBA485F28D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5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2. Fremdsprache in der Regel ab Klasse 6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-22595" custLinFactNeighborX="1331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FE916166-5720-424A-BB7B-761D7528CFDD}" type="presOf" srcId="{F168D0D7-DD15-4F69-8DEA-3E59459CE995}" destId="{5C44AA69-D049-4B71-AE2C-A2059F01FF6F}" srcOrd="0" destOrd="0" presId="urn:microsoft.com/office/officeart/2005/8/layout/vList2"/>
    <dgm:cxn modelId="{B86945FD-A437-4944-97A0-2314B1EC3585}" type="presOf" srcId="{535198FA-1CD5-4CD7-892B-0AFAE5FAC363}" destId="{7328831C-A7AC-48C3-B011-46774979AC11}" srcOrd="0" destOrd="0" presId="urn:microsoft.com/office/officeart/2005/8/layout/vList2"/>
    <dgm:cxn modelId="{16A5EB69-CFB6-4CDA-A69F-FACE85D929D1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5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6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acht Jahre bis zum Abitur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44786" custLinFactNeighborY="-1100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A2E8116A-1E4B-4BF6-BAD6-9316EDE4CB60}" type="presOf" srcId="{F168D0D7-DD15-4F69-8DEA-3E59459CE995}" destId="{5C44AA69-D049-4B71-AE2C-A2059F01FF6F}" srcOrd="0" destOrd="0" presId="urn:microsoft.com/office/officeart/2005/8/layout/vList2"/>
    <dgm:cxn modelId="{E2D0FCAD-4034-4DD1-927E-0D68C24148A8}" type="presOf" srcId="{535198FA-1CD5-4CD7-892B-0AFAE5FAC363}" destId="{7328831C-A7AC-48C3-B011-46774979AC11}" srcOrd="0" destOrd="0" presId="urn:microsoft.com/office/officeart/2005/8/layout/vList2"/>
    <dgm:cxn modelId="{FEEF32A0-256D-4DDF-9DC9-A4ABDD4B5E7E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4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7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hohe Anforderungen und hohes Leistungsniveau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0000" custScaleY="273634" custLinFactY="-400000" custLinFactNeighborX="1935" custLinFactNeighborY="-469881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0C22218-7DA7-429B-9F11-BF9575EA9EB5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015925A9-5C00-4757-8F13-B389975DA499}" type="presOf" srcId="{535198FA-1CD5-4CD7-892B-0AFAE5FAC363}" destId="{7328831C-A7AC-48C3-B011-46774979AC11}" srcOrd="0" destOrd="0" presId="urn:microsoft.com/office/officeart/2005/8/layout/vList2"/>
    <dgm:cxn modelId="{D3E11D31-F061-4A8F-BB4C-85D36104C2C8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5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8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häufig homogenere Lerngruppe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67292" custLinFactNeighborY="-794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A6EC1697-F4CE-4408-A4C3-4AC1BC5D7B55}" type="presOf" srcId="{F168D0D7-DD15-4F69-8DEA-3E59459CE995}" destId="{5C44AA69-D049-4B71-AE2C-A2059F01FF6F}" srcOrd="0" destOrd="0" presId="urn:microsoft.com/office/officeart/2005/8/layout/vList2"/>
    <dgm:cxn modelId="{C425199A-10F4-42BD-B8CB-76A31C139624}" type="presOf" srcId="{535198FA-1CD5-4CD7-892B-0AFAE5FAC363}" destId="{7328831C-A7AC-48C3-B011-46774979AC11}" srcOrd="0" destOrd="0" presId="urn:microsoft.com/office/officeart/2005/8/layout/vList2"/>
    <dgm:cxn modelId="{AA0CFC72-697C-4603-A4DC-B657CDDBADF7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9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zielgleicher Unterricht: vertiefte Allgemeinbildung 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44786" custLinFactNeighborX="372" custLinFactNeighborY="-23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FDBBDD6-CCE4-48C6-8468-D28F67464645}" type="presOf" srcId="{535198FA-1CD5-4CD7-892B-0AFAE5FAC363}" destId="{7328831C-A7AC-48C3-B011-46774979AC11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3F5AC7D3-CE18-48A2-8FC6-6C2BF71E38EC}" type="presOf" srcId="{F168D0D7-DD15-4F69-8DEA-3E59459CE995}" destId="{5C44AA69-D049-4B71-AE2C-A2059F01FF6F}" srcOrd="0" destOrd="0" presId="urn:microsoft.com/office/officeart/2005/8/layout/vList2"/>
    <dgm:cxn modelId="{F0B5701C-C445-421C-A56E-2C6449A8F5C2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5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selbstständiges Lernen – auch in Hausaufgaben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LinFactY="34149" custLinFactNeighborX="-3055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2D28B4F3-7DA0-437C-9047-60A4B9A8B4BD}" type="presOf" srcId="{535198FA-1CD5-4CD7-892B-0AFAE5FAC363}" destId="{7328831C-A7AC-48C3-B011-46774979AC11}" srcOrd="0" destOrd="0" presId="urn:microsoft.com/office/officeart/2005/8/layout/vList2"/>
    <dgm:cxn modelId="{CCBACF70-78B2-4728-9B41-8DA045057C00}" type="presOf" srcId="{F168D0D7-DD15-4F69-8DEA-3E59459CE995}" destId="{5C44AA69-D049-4B71-AE2C-A2059F01FF6F}" srcOrd="0" destOrd="0" presId="urn:microsoft.com/office/officeart/2005/8/layout/vList2"/>
    <dgm:cxn modelId="{FB22EFB0-05EE-488B-96D1-BB8DC6E39A70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0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</dgm:ptLst>
  <dgm:cxnLst>
    <dgm:cxn modelId="{4B3DF05C-0CF0-4EA3-93ED-3F5860C7FCDB}" type="presOf" srcId="{535198FA-1CD5-4CD7-892B-0AFAE5FAC363}" destId="{7328831C-A7AC-48C3-B011-46774979AC1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1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</dgm:ptLst>
  <dgm:cxnLst>
    <dgm:cxn modelId="{7D3A13B4-6FC9-49B9-9D83-CD8C253B50AE}" type="presOf" srcId="{535198FA-1CD5-4CD7-892B-0AFAE5FAC363}" destId="{7328831C-A7AC-48C3-B011-46774979AC1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2.xml><?xml version="1.0" encoding="utf-8"?>
<dgm:dataModel xmlns:dgm="http://schemas.openxmlformats.org/drawingml/2006/diagram" xmlns:a="http://schemas.openxmlformats.org/drawingml/2006/main">
  <dgm:ptLst>
    <dgm:pt modelId="{AE857EA0-F71C-4014-9CF1-F2F8F3B3FF6E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836A19FF-F867-4F68-A64A-F51804778A82}">
      <dgm:prSet custT="1"/>
      <dgm:spPr>
        <a:solidFill>
          <a:srgbClr val="BFCBD8">
            <a:alpha val="50000"/>
          </a:srgbClr>
        </a:solidFill>
      </dgm:spPr>
      <dgm:t>
        <a:bodyPr/>
        <a:lstStyle/>
        <a:p>
          <a:pPr rtl="0"/>
          <a:r>
            <a:rPr lang="de-DE" sz="1000" dirty="0" smtClean="0"/>
            <a:t>Zusatz-</a:t>
          </a:r>
          <a:r>
            <a:rPr lang="de-DE" sz="1000" dirty="0" err="1" smtClean="0"/>
            <a:t>qualifi</a:t>
          </a:r>
          <a:r>
            <a:rPr lang="de-DE" sz="1000" dirty="0" smtClean="0"/>
            <a:t>-kation</a:t>
          </a:r>
          <a:endParaRPr lang="de-DE" sz="700" dirty="0"/>
        </a:p>
      </dgm:t>
    </dgm:pt>
    <dgm:pt modelId="{F7E87D7A-F427-49AC-B135-31DB6CCC2B1E}" type="parTrans" cxnId="{884FB776-CCC5-4138-98F9-D0A0C053E525}">
      <dgm:prSet/>
      <dgm:spPr/>
      <dgm:t>
        <a:bodyPr/>
        <a:lstStyle/>
        <a:p>
          <a:endParaRPr lang="de-DE"/>
        </a:p>
      </dgm:t>
    </dgm:pt>
    <dgm:pt modelId="{B7A67D09-888A-474E-9A27-69FD4920665D}" type="sibTrans" cxnId="{884FB776-CCC5-4138-98F9-D0A0C053E525}">
      <dgm:prSet/>
      <dgm:spPr/>
      <dgm:t>
        <a:bodyPr/>
        <a:lstStyle/>
        <a:p>
          <a:endParaRPr lang="de-DE"/>
        </a:p>
      </dgm:t>
    </dgm:pt>
    <dgm:pt modelId="{19E7E50D-A2FA-4E78-9C01-DED9CB7DFEB6}" type="pres">
      <dgm:prSet presAssocID="{AE857EA0-F71C-4014-9CF1-F2F8F3B3FF6E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A4A40A5F-5DF3-4BB4-B72F-37E74D681AF5}" type="pres">
      <dgm:prSet presAssocID="{836A19FF-F867-4F68-A64A-F51804778A82}" presName="circ1TxSh" presStyleLbl="vennNode1" presStyleIdx="0" presStyleCnt="1" custLinFactNeighborX="0" custLinFactNeighborY="-15552"/>
      <dgm:spPr/>
      <dgm:t>
        <a:bodyPr/>
        <a:lstStyle/>
        <a:p>
          <a:endParaRPr lang="de-DE"/>
        </a:p>
      </dgm:t>
    </dgm:pt>
  </dgm:ptLst>
  <dgm:cxnLst>
    <dgm:cxn modelId="{884FB776-CCC5-4138-98F9-D0A0C053E525}" srcId="{AE857EA0-F71C-4014-9CF1-F2F8F3B3FF6E}" destId="{836A19FF-F867-4F68-A64A-F51804778A82}" srcOrd="0" destOrd="0" parTransId="{F7E87D7A-F427-49AC-B135-31DB6CCC2B1E}" sibTransId="{B7A67D09-888A-474E-9A27-69FD4920665D}"/>
    <dgm:cxn modelId="{CFA5E7AE-15D5-48FB-9345-57606236D21A}" type="presOf" srcId="{836A19FF-F867-4F68-A64A-F51804778A82}" destId="{A4A40A5F-5DF3-4BB4-B72F-37E74D681AF5}" srcOrd="0" destOrd="0" presId="urn:microsoft.com/office/officeart/2005/8/layout/venn1"/>
    <dgm:cxn modelId="{6ED7CC1D-1757-474E-9BE2-16EA72013C54}" type="presOf" srcId="{AE857EA0-F71C-4014-9CF1-F2F8F3B3FF6E}" destId="{19E7E50D-A2FA-4E78-9C01-DED9CB7DFEB6}" srcOrd="0" destOrd="0" presId="urn:microsoft.com/office/officeart/2005/8/layout/venn1"/>
    <dgm:cxn modelId="{5D1DCA10-8987-41F1-849C-BA05F11232E3}" type="presParOf" srcId="{19E7E50D-A2FA-4E78-9C01-DED9CB7DFEB6}" destId="{A4A40A5F-5DF3-4BB4-B72F-37E74D681AF5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63.xml><?xml version="1.0" encoding="utf-8"?>
<dgm:dataModel xmlns:dgm="http://schemas.openxmlformats.org/drawingml/2006/diagram" xmlns:a="http://schemas.openxmlformats.org/drawingml/2006/main">
  <dgm:ptLst>
    <dgm:pt modelId="{398DC55C-32BD-48BF-AC05-2B91848F5081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BFD0495B-10E4-4212-BD0A-E8EF88684344}">
      <dgm:prSet custT="1"/>
      <dgm:spPr>
        <a:solidFill>
          <a:srgbClr val="A5580A"/>
        </a:solidFill>
      </dgm:spPr>
      <dgm:t>
        <a:bodyPr/>
        <a:lstStyle/>
        <a:p>
          <a:pPr rtl="0"/>
          <a:r>
            <a:rPr lang="de-DE" sz="1000" dirty="0" smtClean="0"/>
            <a:t>Duale</a:t>
          </a:r>
          <a:r>
            <a:rPr lang="de-DE" sz="800" dirty="0" smtClean="0"/>
            <a:t> </a:t>
          </a:r>
          <a:br>
            <a:rPr lang="de-DE" sz="800" dirty="0" smtClean="0"/>
          </a:br>
          <a:r>
            <a:rPr lang="de-DE" sz="1000" dirty="0" smtClean="0"/>
            <a:t>Berufsausbildung</a:t>
          </a:r>
          <a:endParaRPr lang="de-DE" sz="800" dirty="0"/>
        </a:p>
      </dgm:t>
    </dgm:pt>
    <dgm:pt modelId="{0056726B-FB08-4A8D-84AC-BF8E25203169}" type="sibTrans" cxnId="{55B36483-4444-4560-A460-A0E6E45372BD}">
      <dgm:prSet/>
      <dgm:spPr/>
      <dgm:t>
        <a:bodyPr/>
        <a:lstStyle/>
        <a:p>
          <a:endParaRPr lang="de-DE"/>
        </a:p>
      </dgm:t>
    </dgm:pt>
    <dgm:pt modelId="{8B3FF2C6-3772-4145-A788-4D60289B2DE3}" type="parTrans" cxnId="{55B36483-4444-4560-A460-A0E6E45372BD}">
      <dgm:prSet/>
      <dgm:spPr/>
      <dgm:t>
        <a:bodyPr/>
        <a:lstStyle/>
        <a:p>
          <a:endParaRPr lang="de-DE"/>
        </a:p>
      </dgm:t>
    </dgm:pt>
    <dgm:pt modelId="{28F231C3-2456-42F6-B9CA-1E49E7E55EE8}" type="pres">
      <dgm:prSet presAssocID="{398DC55C-32BD-48BF-AC05-2B91848F5081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9BAC0CE8-7B20-46B2-9C02-3AFA3351B45C}" type="pres">
      <dgm:prSet presAssocID="{BFD0495B-10E4-4212-BD0A-E8EF88684344}" presName="root" presStyleCnt="0"/>
      <dgm:spPr/>
    </dgm:pt>
    <dgm:pt modelId="{7426B126-3966-4123-8FCA-85145F0AE8C3}" type="pres">
      <dgm:prSet presAssocID="{BFD0495B-10E4-4212-BD0A-E8EF88684344}" presName="rootComposite" presStyleCnt="0"/>
      <dgm:spPr/>
    </dgm:pt>
    <dgm:pt modelId="{00E087F8-C6A9-411A-AF39-543ACB05D6EF}" type="pres">
      <dgm:prSet presAssocID="{BFD0495B-10E4-4212-BD0A-E8EF88684344}" presName="rootText" presStyleLbl="node1" presStyleIdx="0" presStyleCnt="1" custScaleX="128095" custScaleY="100121" custLinFactNeighborX="-4184" custLinFactNeighborY="55"/>
      <dgm:spPr/>
      <dgm:t>
        <a:bodyPr/>
        <a:lstStyle/>
        <a:p>
          <a:endParaRPr lang="de-DE"/>
        </a:p>
      </dgm:t>
    </dgm:pt>
    <dgm:pt modelId="{608EF3DC-38B8-407C-9EE3-F06F34839975}" type="pres">
      <dgm:prSet presAssocID="{BFD0495B-10E4-4212-BD0A-E8EF88684344}" presName="rootConnector" presStyleLbl="node1" presStyleIdx="0" presStyleCnt="1"/>
      <dgm:spPr/>
      <dgm:t>
        <a:bodyPr/>
        <a:lstStyle/>
        <a:p>
          <a:endParaRPr lang="de-DE"/>
        </a:p>
      </dgm:t>
    </dgm:pt>
    <dgm:pt modelId="{124606A9-AADB-47CC-A55F-34A3A4ECAC65}" type="pres">
      <dgm:prSet presAssocID="{BFD0495B-10E4-4212-BD0A-E8EF88684344}" presName="childShape" presStyleCnt="0"/>
      <dgm:spPr/>
    </dgm:pt>
  </dgm:ptLst>
  <dgm:cxnLst>
    <dgm:cxn modelId="{55B36483-4444-4560-A460-A0E6E45372BD}" srcId="{398DC55C-32BD-48BF-AC05-2B91848F5081}" destId="{BFD0495B-10E4-4212-BD0A-E8EF88684344}" srcOrd="0" destOrd="0" parTransId="{8B3FF2C6-3772-4145-A788-4D60289B2DE3}" sibTransId="{0056726B-FB08-4A8D-84AC-BF8E25203169}"/>
    <dgm:cxn modelId="{00EE73D5-55B2-4655-AE62-F7C888A36B43}" type="presOf" srcId="{BFD0495B-10E4-4212-BD0A-E8EF88684344}" destId="{00E087F8-C6A9-411A-AF39-543ACB05D6EF}" srcOrd="0" destOrd="0" presId="urn:microsoft.com/office/officeart/2005/8/layout/hierarchy3"/>
    <dgm:cxn modelId="{B58200B2-F832-42B3-BC14-5A8074CD5EBC}" type="presOf" srcId="{BFD0495B-10E4-4212-BD0A-E8EF88684344}" destId="{608EF3DC-38B8-407C-9EE3-F06F34839975}" srcOrd="1" destOrd="0" presId="urn:microsoft.com/office/officeart/2005/8/layout/hierarchy3"/>
    <dgm:cxn modelId="{60C01755-3414-40DB-8883-0A83C498B817}" type="presOf" srcId="{398DC55C-32BD-48BF-AC05-2B91848F5081}" destId="{28F231C3-2456-42F6-B9CA-1E49E7E55EE8}" srcOrd="0" destOrd="0" presId="urn:microsoft.com/office/officeart/2005/8/layout/hierarchy3"/>
    <dgm:cxn modelId="{53C6CAAF-F0E0-4177-B295-C6665C5A4B96}" type="presParOf" srcId="{28F231C3-2456-42F6-B9CA-1E49E7E55EE8}" destId="{9BAC0CE8-7B20-46B2-9C02-3AFA3351B45C}" srcOrd="0" destOrd="0" presId="urn:microsoft.com/office/officeart/2005/8/layout/hierarchy3"/>
    <dgm:cxn modelId="{79863F62-B063-467D-8128-47B0AB376B70}" type="presParOf" srcId="{9BAC0CE8-7B20-46B2-9C02-3AFA3351B45C}" destId="{7426B126-3966-4123-8FCA-85145F0AE8C3}" srcOrd="0" destOrd="0" presId="urn:microsoft.com/office/officeart/2005/8/layout/hierarchy3"/>
    <dgm:cxn modelId="{04FAA793-8BB6-4DE9-911D-01F4AF02EC2A}" type="presParOf" srcId="{7426B126-3966-4123-8FCA-85145F0AE8C3}" destId="{00E087F8-C6A9-411A-AF39-543ACB05D6EF}" srcOrd="0" destOrd="0" presId="urn:microsoft.com/office/officeart/2005/8/layout/hierarchy3"/>
    <dgm:cxn modelId="{41263335-B4C0-4FD3-9AC2-41C929505B87}" type="presParOf" srcId="{7426B126-3966-4123-8FCA-85145F0AE8C3}" destId="{608EF3DC-38B8-407C-9EE3-F06F34839975}" srcOrd="1" destOrd="0" presId="urn:microsoft.com/office/officeart/2005/8/layout/hierarchy3"/>
    <dgm:cxn modelId="{8EE46185-B8FD-4717-9B91-7AC704FB8BA4}" type="presParOf" srcId="{9BAC0CE8-7B20-46B2-9C02-3AFA3351B45C}" destId="{124606A9-AADB-47CC-A55F-34A3A4ECAC65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64.xml><?xml version="1.0" encoding="utf-8"?>
<dgm:dataModel xmlns:dgm="http://schemas.openxmlformats.org/drawingml/2006/diagram" xmlns:a="http://schemas.openxmlformats.org/drawingml/2006/main">
  <dgm:ptLst>
    <dgm:pt modelId="{D1E5945C-1491-41FF-AAAB-BC9501AE5BD0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CB4494F6-899C-43AD-99CE-8DB844B58335}">
      <dgm:prSet custT="1"/>
      <dgm:spPr>
        <a:solidFill>
          <a:schemeClr val="bg2">
            <a:alpha val="90000"/>
          </a:schemeClr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rtl="0"/>
          <a:r>
            <a:rPr lang="de-DE" sz="1100" b="1" dirty="0" smtClean="0"/>
            <a:t>Berufsschulabschluss</a:t>
          </a:r>
          <a:endParaRPr lang="de-DE" sz="1100" b="1" dirty="0"/>
        </a:p>
      </dgm:t>
    </dgm:pt>
    <dgm:pt modelId="{A5F45C23-5BBE-475D-91BD-46847D034A1E}" type="parTrans" cxnId="{CB5DB10D-E82F-433F-B116-0064D4F34B29}">
      <dgm:prSet/>
      <dgm:spPr/>
      <dgm:t>
        <a:bodyPr/>
        <a:lstStyle/>
        <a:p>
          <a:endParaRPr lang="de-DE"/>
        </a:p>
      </dgm:t>
    </dgm:pt>
    <dgm:pt modelId="{B1C04CE8-813F-4F53-8566-A85A8D9D58EB}" type="sibTrans" cxnId="{CB5DB10D-E82F-433F-B116-0064D4F34B29}">
      <dgm:prSet/>
      <dgm:spPr/>
      <dgm:t>
        <a:bodyPr/>
        <a:lstStyle/>
        <a:p>
          <a:endParaRPr lang="de-DE"/>
        </a:p>
      </dgm:t>
    </dgm:pt>
    <dgm:pt modelId="{F56CE141-648F-4E4B-BEFD-79B453403604}" type="pres">
      <dgm:prSet presAssocID="{D1E5945C-1491-41FF-AAAB-BC9501AE5BD0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98B604F-A667-4808-9261-262E329E7D6B}" type="pres">
      <dgm:prSet presAssocID="{CB4494F6-899C-43AD-99CE-8DB844B58335}" presName="circle1" presStyleLbl="node1" presStyleIdx="0" presStyleCnt="1"/>
      <dgm:spPr>
        <a:solidFill>
          <a:schemeClr val="bg1"/>
        </a:solidFill>
      </dgm:spPr>
    </dgm:pt>
    <dgm:pt modelId="{6B01883C-CD55-4485-9D85-A17D587E5E0B}" type="pres">
      <dgm:prSet presAssocID="{CB4494F6-899C-43AD-99CE-8DB844B58335}" presName="space" presStyleCnt="0"/>
      <dgm:spPr/>
    </dgm:pt>
    <dgm:pt modelId="{75C710D2-2E76-4AC8-8AC8-748BDFD3E6C3}" type="pres">
      <dgm:prSet presAssocID="{CB4494F6-899C-43AD-99CE-8DB844B58335}" presName="rect1" presStyleLbl="alignAcc1" presStyleIdx="0" presStyleCnt="1" custScaleX="109190" custLinFactNeighborX="-1847"/>
      <dgm:spPr/>
      <dgm:t>
        <a:bodyPr/>
        <a:lstStyle/>
        <a:p>
          <a:endParaRPr lang="de-DE"/>
        </a:p>
      </dgm:t>
    </dgm:pt>
    <dgm:pt modelId="{F55100FF-B12F-452A-9C42-0E444D0ED847}" type="pres">
      <dgm:prSet presAssocID="{CB4494F6-899C-43AD-99CE-8DB844B58335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88D0D6-F76F-4D5A-94CE-B89B7720EDE2}" type="presOf" srcId="{CB4494F6-899C-43AD-99CE-8DB844B58335}" destId="{75C710D2-2E76-4AC8-8AC8-748BDFD3E6C3}" srcOrd="0" destOrd="0" presId="urn:microsoft.com/office/officeart/2005/8/layout/target3"/>
    <dgm:cxn modelId="{5E9AE555-C438-457F-A1B8-A6B96136A1E1}" type="presOf" srcId="{CB4494F6-899C-43AD-99CE-8DB844B58335}" destId="{F55100FF-B12F-452A-9C42-0E444D0ED847}" srcOrd="1" destOrd="0" presId="urn:microsoft.com/office/officeart/2005/8/layout/target3"/>
    <dgm:cxn modelId="{CB5DB10D-E82F-433F-B116-0064D4F34B29}" srcId="{D1E5945C-1491-41FF-AAAB-BC9501AE5BD0}" destId="{CB4494F6-899C-43AD-99CE-8DB844B58335}" srcOrd="0" destOrd="0" parTransId="{A5F45C23-5BBE-475D-91BD-46847D034A1E}" sibTransId="{B1C04CE8-813F-4F53-8566-A85A8D9D58EB}"/>
    <dgm:cxn modelId="{CBCFD3BD-6BD6-4FD4-A18E-639712FF92D9}" type="presOf" srcId="{D1E5945C-1491-41FF-AAAB-BC9501AE5BD0}" destId="{F56CE141-648F-4E4B-BEFD-79B453403604}" srcOrd="0" destOrd="0" presId="urn:microsoft.com/office/officeart/2005/8/layout/target3"/>
    <dgm:cxn modelId="{FBD8E1A1-542F-40C9-ACFE-F89B1921178F}" type="presParOf" srcId="{F56CE141-648F-4E4B-BEFD-79B453403604}" destId="{E98B604F-A667-4808-9261-262E329E7D6B}" srcOrd="0" destOrd="0" presId="urn:microsoft.com/office/officeart/2005/8/layout/target3"/>
    <dgm:cxn modelId="{2A87557B-9698-45BA-B707-1D602DAEC8E8}" type="presParOf" srcId="{F56CE141-648F-4E4B-BEFD-79B453403604}" destId="{6B01883C-CD55-4485-9D85-A17D587E5E0B}" srcOrd="1" destOrd="0" presId="urn:microsoft.com/office/officeart/2005/8/layout/target3"/>
    <dgm:cxn modelId="{69378D0D-EC7C-4158-9D87-ED006F12D275}" type="presParOf" srcId="{F56CE141-648F-4E4B-BEFD-79B453403604}" destId="{75C710D2-2E76-4AC8-8AC8-748BDFD3E6C3}" srcOrd="2" destOrd="0" presId="urn:microsoft.com/office/officeart/2005/8/layout/target3"/>
    <dgm:cxn modelId="{33251035-123E-4F01-A6F0-1C9085AA349D}" type="presParOf" srcId="{F56CE141-648F-4E4B-BEFD-79B453403604}" destId="{F55100FF-B12F-452A-9C42-0E444D0ED847}" srcOrd="3" destOrd="0" presId="urn:microsoft.com/office/officeart/2005/8/layout/target3"/>
  </dgm:cxnLst>
  <dgm:bg>
    <a:noFill/>
  </dgm:bg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65.xml><?xml version="1.0" encoding="utf-8"?>
<dgm:dataModel xmlns:dgm="http://schemas.openxmlformats.org/drawingml/2006/diagram" xmlns:a="http://schemas.openxmlformats.org/drawingml/2006/main">
  <dgm:ptLst>
    <dgm:pt modelId="{3D916B86-AC28-4626-B963-112384C13F89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E8C66CE-6AA3-4D38-9A65-FFAF1AC2E9FE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pPr rtl="0"/>
          <a:r>
            <a:rPr lang="de-DE" dirty="0" smtClean="0"/>
            <a:t>Schulische </a:t>
          </a:r>
          <a:br>
            <a:rPr lang="de-DE" dirty="0" smtClean="0"/>
          </a:br>
          <a:r>
            <a:rPr lang="de-DE" dirty="0" smtClean="0"/>
            <a:t>Berufsausbildung</a:t>
          </a:r>
          <a:endParaRPr lang="de-DE" dirty="0"/>
        </a:p>
      </dgm:t>
    </dgm:pt>
    <dgm:pt modelId="{34CB5C3F-D83F-4A8E-BD16-AD79BEB2EC26}" type="sibTrans" cxnId="{E391156C-47B6-4D4F-8BD3-3E4D05B58B31}">
      <dgm:prSet/>
      <dgm:spPr/>
      <dgm:t>
        <a:bodyPr/>
        <a:lstStyle/>
        <a:p>
          <a:endParaRPr lang="de-DE"/>
        </a:p>
      </dgm:t>
    </dgm:pt>
    <dgm:pt modelId="{923261C0-675A-479B-8BE1-42C8261CC987}" type="parTrans" cxnId="{E391156C-47B6-4D4F-8BD3-3E4D05B58B31}">
      <dgm:prSet/>
      <dgm:spPr/>
      <dgm:t>
        <a:bodyPr/>
        <a:lstStyle/>
        <a:p>
          <a:endParaRPr lang="de-DE"/>
        </a:p>
      </dgm:t>
    </dgm:pt>
    <dgm:pt modelId="{3343C4BE-614E-46C3-A541-2CBF47C0A3E3}" type="pres">
      <dgm:prSet presAssocID="{3D916B86-AC28-4626-B963-112384C13F89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4CCD9CB7-9BCF-4CD5-9EE6-9BA27943B212}" type="pres">
      <dgm:prSet presAssocID="{4E8C66CE-6AA3-4D38-9A65-FFAF1AC2E9FE}" presName="root" presStyleCnt="0"/>
      <dgm:spPr/>
    </dgm:pt>
    <dgm:pt modelId="{40F657D9-167D-46C3-A68F-056EBD13938C}" type="pres">
      <dgm:prSet presAssocID="{4E8C66CE-6AA3-4D38-9A65-FFAF1AC2E9FE}" presName="rootComposite" presStyleCnt="0"/>
      <dgm:spPr/>
    </dgm:pt>
    <dgm:pt modelId="{CC92030F-778E-4954-B125-2224A0BF0D7D}" type="pres">
      <dgm:prSet presAssocID="{4E8C66CE-6AA3-4D38-9A65-FFAF1AC2E9FE}" presName="rootText" presStyleLbl="node1" presStyleIdx="0" presStyleCnt="1" custScaleX="117880"/>
      <dgm:spPr/>
      <dgm:t>
        <a:bodyPr/>
        <a:lstStyle/>
        <a:p>
          <a:endParaRPr lang="de-DE"/>
        </a:p>
      </dgm:t>
    </dgm:pt>
    <dgm:pt modelId="{CC875FC6-1CC8-4290-89E7-1F5553B16EF1}" type="pres">
      <dgm:prSet presAssocID="{4E8C66CE-6AA3-4D38-9A65-FFAF1AC2E9FE}" presName="rootConnector" presStyleLbl="node1" presStyleIdx="0" presStyleCnt="1"/>
      <dgm:spPr/>
      <dgm:t>
        <a:bodyPr/>
        <a:lstStyle/>
        <a:p>
          <a:endParaRPr lang="de-DE"/>
        </a:p>
      </dgm:t>
    </dgm:pt>
    <dgm:pt modelId="{018FB409-A880-41D2-806A-0200C4DC1FF1}" type="pres">
      <dgm:prSet presAssocID="{4E8C66CE-6AA3-4D38-9A65-FFAF1AC2E9FE}" presName="childShape" presStyleCnt="0"/>
      <dgm:spPr/>
    </dgm:pt>
  </dgm:ptLst>
  <dgm:cxnLst>
    <dgm:cxn modelId="{E391156C-47B6-4D4F-8BD3-3E4D05B58B31}" srcId="{3D916B86-AC28-4626-B963-112384C13F89}" destId="{4E8C66CE-6AA3-4D38-9A65-FFAF1AC2E9FE}" srcOrd="0" destOrd="0" parTransId="{923261C0-675A-479B-8BE1-42C8261CC987}" sibTransId="{34CB5C3F-D83F-4A8E-BD16-AD79BEB2EC26}"/>
    <dgm:cxn modelId="{DAEE3EE0-A9C8-4C62-8175-DD26B2ACCEC6}" type="presOf" srcId="{4E8C66CE-6AA3-4D38-9A65-FFAF1AC2E9FE}" destId="{CC92030F-778E-4954-B125-2224A0BF0D7D}" srcOrd="0" destOrd="0" presId="urn:microsoft.com/office/officeart/2005/8/layout/hierarchy3"/>
    <dgm:cxn modelId="{950713DD-0583-4B7F-850D-F16063C44934}" type="presOf" srcId="{4E8C66CE-6AA3-4D38-9A65-FFAF1AC2E9FE}" destId="{CC875FC6-1CC8-4290-89E7-1F5553B16EF1}" srcOrd="1" destOrd="0" presId="urn:microsoft.com/office/officeart/2005/8/layout/hierarchy3"/>
    <dgm:cxn modelId="{50BBDA96-8A23-47C7-A61A-3BA37159A7E1}" type="presOf" srcId="{3D916B86-AC28-4626-B963-112384C13F89}" destId="{3343C4BE-614E-46C3-A541-2CBF47C0A3E3}" srcOrd="0" destOrd="0" presId="urn:microsoft.com/office/officeart/2005/8/layout/hierarchy3"/>
    <dgm:cxn modelId="{3E130677-2777-4951-A535-37236D1D28EE}" type="presParOf" srcId="{3343C4BE-614E-46C3-A541-2CBF47C0A3E3}" destId="{4CCD9CB7-9BCF-4CD5-9EE6-9BA27943B212}" srcOrd="0" destOrd="0" presId="urn:microsoft.com/office/officeart/2005/8/layout/hierarchy3"/>
    <dgm:cxn modelId="{E0491051-139B-4A5E-996B-9C62BA386531}" type="presParOf" srcId="{4CCD9CB7-9BCF-4CD5-9EE6-9BA27943B212}" destId="{40F657D9-167D-46C3-A68F-056EBD13938C}" srcOrd="0" destOrd="0" presId="urn:microsoft.com/office/officeart/2005/8/layout/hierarchy3"/>
    <dgm:cxn modelId="{B7340E49-4AF7-4C74-A3A9-194469F37777}" type="presParOf" srcId="{40F657D9-167D-46C3-A68F-056EBD13938C}" destId="{CC92030F-778E-4954-B125-2224A0BF0D7D}" srcOrd="0" destOrd="0" presId="urn:microsoft.com/office/officeart/2005/8/layout/hierarchy3"/>
    <dgm:cxn modelId="{0A4B32F1-A4DD-4D49-9A2D-022E95780FC7}" type="presParOf" srcId="{40F657D9-167D-46C3-A68F-056EBD13938C}" destId="{CC875FC6-1CC8-4290-89E7-1F5553B16EF1}" srcOrd="1" destOrd="0" presId="urn:microsoft.com/office/officeart/2005/8/layout/hierarchy3"/>
    <dgm:cxn modelId="{C3503950-6AFE-4CCA-BC39-3FE785F84D99}" type="presParOf" srcId="{4CCD9CB7-9BCF-4CD5-9EE6-9BA27943B212}" destId="{018FB409-A880-41D2-806A-0200C4DC1FF1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38" minVer="http://schemas.openxmlformats.org/drawingml/2006/diagram"/>
    </a:ext>
  </dgm:extLst>
</dgm:dataModel>
</file>

<file path=ppt/diagrams/data66.xml><?xml version="1.0" encoding="utf-8"?>
<dgm:dataModel xmlns:dgm="http://schemas.openxmlformats.org/drawingml/2006/diagram" xmlns:a="http://schemas.openxmlformats.org/drawingml/2006/main">
  <dgm:ptLst>
    <dgm:pt modelId="{0D76BCED-BD16-4094-B9AF-5A98527970DF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F9C861C-0C73-4DF0-84C2-09712F215634}">
      <dgm:prSet custT="1"/>
      <dgm:spPr>
        <a:solidFill>
          <a:schemeClr val="bg1">
            <a:lumMod val="95000"/>
          </a:schemeClr>
        </a:solidFill>
        <a:ln>
          <a:solidFill>
            <a:srgbClr val="C00000"/>
          </a:solidFill>
        </a:ln>
      </dgm:spPr>
      <dgm:t>
        <a:bodyPr/>
        <a:lstStyle/>
        <a:p>
          <a:pPr rtl="0"/>
          <a:r>
            <a:rPr lang="de-DE" sz="1100" b="1" dirty="0" smtClean="0"/>
            <a:t>Fachhochschulreife</a:t>
          </a:r>
          <a:endParaRPr lang="de-DE" sz="900" b="1" dirty="0"/>
        </a:p>
      </dgm:t>
    </dgm:pt>
    <dgm:pt modelId="{2A09FFEC-6A11-4E0A-B47F-D54BFD9CEF0C}" type="parTrans" cxnId="{6EBFE014-0B86-483D-8247-E1AFD867BFED}">
      <dgm:prSet/>
      <dgm:spPr/>
      <dgm:t>
        <a:bodyPr/>
        <a:lstStyle/>
        <a:p>
          <a:endParaRPr lang="de-DE"/>
        </a:p>
      </dgm:t>
    </dgm:pt>
    <dgm:pt modelId="{92A9D6FB-3AA8-4019-8AA0-C2453133602E}" type="sibTrans" cxnId="{6EBFE014-0B86-483D-8247-E1AFD867BFED}">
      <dgm:prSet/>
      <dgm:spPr/>
      <dgm:t>
        <a:bodyPr/>
        <a:lstStyle/>
        <a:p>
          <a:endParaRPr lang="de-DE"/>
        </a:p>
      </dgm:t>
    </dgm:pt>
    <dgm:pt modelId="{987A5031-6E17-4BC5-8615-AA707536ECA8}" type="pres">
      <dgm:prSet presAssocID="{0D76BCED-BD16-4094-B9AF-5A98527970DF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0E9559D-DA83-4F44-84FF-CA345300BAC2}" type="pres">
      <dgm:prSet presAssocID="{4F9C861C-0C73-4DF0-84C2-09712F215634}" presName="circle1" presStyleLbl="node1" presStyleIdx="0" presStyleCnt="1"/>
      <dgm:spPr>
        <a:noFill/>
        <a:ln>
          <a:noFill/>
        </a:ln>
      </dgm:spPr>
      <dgm:t>
        <a:bodyPr/>
        <a:lstStyle/>
        <a:p>
          <a:endParaRPr lang="de-DE"/>
        </a:p>
      </dgm:t>
    </dgm:pt>
    <dgm:pt modelId="{CD0C79FD-935B-49B9-A539-7BF9126DE080}" type="pres">
      <dgm:prSet presAssocID="{4F9C861C-0C73-4DF0-84C2-09712F215634}" presName="space" presStyleCnt="0"/>
      <dgm:spPr/>
    </dgm:pt>
    <dgm:pt modelId="{1210B2C4-3FF5-400D-9B5C-13D601D6433F}" type="pres">
      <dgm:prSet presAssocID="{4F9C861C-0C73-4DF0-84C2-09712F215634}" presName="rect1" presStyleLbl="alignAcc1" presStyleIdx="0" presStyleCnt="1" custLinFactNeighborX="-6324"/>
      <dgm:spPr/>
      <dgm:t>
        <a:bodyPr/>
        <a:lstStyle/>
        <a:p>
          <a:endParaRPr lang="de-DE"/>
        </a:p>
      </dgm:t>
    </dgm:pt>
    <dgm:pt modelId="{FF076E19-A449-496A-ADF8-AC0640A76B77}" type="pres">
      <dgm:prSet presAssocID="{4F9C861C-0C73-4DF0-84C2-09712F215634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EBFE014-0B86-483D-8247-E1AFD867BFED}" srcId="{0D76BCED-BD16-4094-B9AF-5A98527970DF}" destId="{4F9C861C-0C73-4DF0-84C2-09712F215634}" srcOrd="0" destOrd="0" parTransId="{2A09FFEC-6A11-4E0A-B47F-D54BFD9CEF0C}" sibTransId="{92A9D6FB-3AA8-4019-8AA0-C2453133602E}"/>
    <dgm:cxn modelId="{20D747BA-CA1E-468A-8585-C20257B627D1}" type="presOf" srcId="{0D76BCED-BD16-4094-B9AF-5A98527970DF}" destId="{987A5031-6E17-4BC5-8615-AA707536ECA8}" srcOrd="0" destOrd="0" presId="urn:microsoft.com/office/officeart/2005/8/layout/target3"/>
    <dgm:cxn modelId="{3D02A639-F359-489C-A03C-30CF5CE596C0}" type="presOf" srcId="{4F9C861C-0C73-4DF0-84C2-09712F215634}" destId="{FF076E19-A449-496A-ADF8-AC0640A76B77}" srcOrd="1" destOrd="0" presId="urn:microsoft.com/office/officeart/2005/8/layout/target3"/>
    <dgm:cxn modelId="{939728D7-ACF5-4747-9FB6-6C77453310A9}" type="presOf" srcId="{4F9C861C-0C73-4DF0-84C2-09712F215634}" destId="{1210B2C4-3FF5-400D-9B5C-13D601D6433F}" srcOrd="0" destOrd="0" presId="urn:microsoft.com/office/officeart/2005/8/layout/target3"/>
    <dgm:cxn modelId="{842B14B8-4B8B-4A2A-8DAF-A05E4D4F98AD}" type="presParOf" srcId="{987A5031-6E17-4BC5-8615-AA707536ECA8}" destId="{30E9559D-DA83-4F44-84FF-CA345300BAC2}" srcOrd="0" destOrd="0" presId="urn:microsoft.com/office/officeart/2005/8/layout/target3"/>
    <dgm:cxn modelId="{E8BAC42B-2F97-47A2-BD3A-257522CE6D1F}" type="presParOf" srcId="{987A5031-6E17-4BC5-8615-AA707536ECA8}" destId="{CD0C79FD-935B-49B9-A539-7BF9126DE080}" srcOrd="1" destOrd="0" presId="urn:microsoft.com/office/officeart/2005/8/layout/target3"/>
    <dgm:cxn modelId="{C4ED0E96-2644-4EA3-AA68-733CB91F9F85}" type="presParOf" srcId="{987A5031-6E17-4BC5-8615-AA707536ECA8}" destId="{1210B2C4-3FF5-400D-9B5C-13D601D6433F}" srcOrd="2" destOrd="0" presId="urn:microsoft.com/office/officeart/2005/8/layout/target3"/>
    <dgm:cxn modelId="{A1AAD497-114D-4341-9AF9-CA79E68EB93F}" type="presParOf" srcId="{987A5031-6E17-4BC5-8615-AA707536ECA8}" destId="{FF076E19-A449-496A-ADF8-AC0640A76B77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43" minVer="http://schemas.openxmlformats.org/drawingml/2006/diagram"/>
    </a:ext>
  </dgm:extLst>
</dgm:dataModel>
</file>

<file path=ppt/diagrams/data67.xml><?xml version="1.0" encoding="utf-8"?>
<dgm:dataModel xmlns:dgm="http://schemas.openxmlformats.org/drawingml/2006/diagram" xmlns:a="http://schemas.openxmlformats.org/drawingml/2006/main">
  <dgm:ptLst>
    <dgm:pt modelId="{0D76BCED-BD16-4094-B9AF-5A98527970DF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F9C861C-0C73-4DF0-84C2-09712F215634}">
      <dgm:prSet custT="1"/>
      <dgm:spPr>
        <a:solidFill>
          <a:schemeClr val="bg1">
            <a:lumMod val="95000"/>
            <a:alpha val="90000"/>
          </a:schemeClr>
        </a:solidFill>
        <a:ln>
          <a:solidFill>
            <a:srgbClr val="F4950A"/>
          </a:solidFill>
        </a:ln>
      </dgm:spPr>
      <dgm:t>
        <a:bodyPr/>
        <a:lstStyle/>
        <a:p>
          <a:pPr rtl="0"/>
          <a:r>
            <a:rPr lang="de-DE" sz="1100" b="1" dirty="0" smtClean="0"/>
            <a:t>Allgemeine Hochschulreife*</a:t>
          </a:r>
          <a:endParaRPr lang="de-DE" sz="900" b="1" dirty="0"/>
        </a:p>
      </dgm:t>
    </dgm:pt>
    <dgm:pt modelId="{2A09FFEC-6A11-4E0A-B47F-D54BFD9CEF0C}" type="parTrans" cxnId="{6EBFE014-0B86-483D-8247-E1AFD867BFED}">
      <dgm:prSet/>
      <dgm:spPr/>
      <dgm:t>
        <a:bodyPr/>
        <a:lstStyle/>
        <a:p>
          <a:endParaRPr lang="de-DE"/>
        </a:p>
      </dgm:t>
    </dgm:pt>
    <dgm:pt modelId="{92A9D6FB-3AA8-4019-8AA0-C2453133602E}" type="sibTrans" cxnId="{6EBFE014-0B86-483D-8247-E1AFD867BFED}">
      <dgm:prSet/>
      <dgm:spPr/>
      <dgm:t>
        <a:bodyPr/>
        <a:lstStyle/>
        <a:p>
          <a:endParaRPr lang="de-DE"/>
        </a:p>
      </dgm:t>
    </dgm:pt>
    <dgm:pt modelId="{987A5031-6E17-4BC5-8615-AA707536ECA8}" type="pres">
      <dgm:prSet presAssocID="{0D76BCED-BD16-4094-B9AF-5A98527970DF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0E9559D-DA83-4F44-84FF-CA345300BAC2}" type="pres">
      <dgm:prSet presAssocID="{4F9C861C-0C73-4DF0-84C2-09712F215634}" presName="circle1" presStyleLbl="node1" presStyleIdx="0" presStyleCnt="1"/>
      <dgm:spPr>
        <a:solidFill>
          <a:schemeClr val="bg1"/>
        </a:solidFill>
        <a:ln>
          <a:noFill/>
        </a:ln>
      </dgm:spPr>
    </dgm:pt>
    <dgm:pt modelId="{CD0C79FD-935B-49B9-A539-7BF9126DE080}" type="pres">
      <dgm:prSet presAssocID="{4F9C861C-0C73-4DF0-84C2-09712F215634}" presName="space" presStyleCnt="0"/>
      <dgm:spPr/>
    </dgm:pt>
    <dgm:pt modelId="{1210B2C4-3FF5-400D-9B5C-13D601D6433F}" type="pres">
      <dgm:prSet presAssocID="{4F9C861C-0C73-4DF0-84C2-09712F215634}" presName="rect1" presStyleLbl="alignAcc1" presStyleIdx="0" presStyleCnt="1" custLinFactNeighborX="-8747" custLinFactNeighborY="-4067"/>
      <dgm:spPr/>
      <dgm:t>
        <a:bodyPr/>
        <a:lstStyle/>
        <a:p>
          <a:endParaRPr lang="de-DE"/>
        </a:p>
      </dgm:t>
    </dgm:pt>
    <dgm:pt modelId="{FF076E19-A449-496A-ADF8-AC0640A76B77}" type="pres">
      <dgm:prSet presAssocID="{4F9C861C-0C73-4DF0-84C2-09712F215634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26E503B-BE52-4D19-897F-FC70DC17C652}" type="presOf" srcId="{4F9C861C-0C73-4DF0-84C2-09712F215634}" destId="{FF076E19-A449-496A-ADF8-AC0640A76B77}" srcOrd="1" destOrd="0" presId="urn:microsoft.com/office/officeart/2005/8/layout/target3"/>
    <dgm:cxn modelId="{6EBFE014-0B86-483D-8247-E1AFD867BFED}" srcId="{0D76BCED-BD16-4094-B9AF-5A98527970DF}" destId="{4F9C861C-0C73-4DF0-84C2-09712F215634}" srcOrd="0" destOrd="0" parTransId="{2A09FFEC-6A11-4E0A-B47F-D54BFD9CEF0C}" sibTransId="{92A9D6FB-3AA8-4019-8AA0-C2453133602E}"/>
    <dgm:cxn modelId="{FADC7DEA-821C-4D37-B627-3AAB93CDFB93}" type="presOf" srcId="{4F9C861C-0C73-4DF0-84C2-09712F215634}" destId="{1210B2C4-3FF5-400D-9B5C-13D601D6433F}" srcOrd="0" destOrd="0" presId="urn:microsoft.com/office/officeart/2005/8/layout/target3"/>
    <dgm:cxn modelId="{848958A2-497E-4A9B-A5C2-802A3D3EDFB2}" type="presOf" srcId="{0D76BCED-BD16-4094-B9AF-5A98527970DF}" destId="{987A5031-6E17-4BC5-8615-AA707536ECA8}" srcOrd="0" destOrd="0" presId="urn:microsoft.com/office/officeart/2005/8/layout/target3"/>
    <dgm:cxn modelId="{108F28F6-313D-4DB1-A56B-1A1908DA5A05}" type="presParOf" srcId="{987A5031-6E17-4BC5-8615-AA707536ECA8}" destId="{30E9559D-DA83-4F44-84FF-CA345300BAC2}" srcOrd="0" destOrd="0" presId="urn:microsoft.com/office/officeart/2005/8/layout/target3"/>
    <dgm:cxn modelId="{B9ADE32B-1F8C-4078-AFDC-D3C5AA5B82D2}" type="presParOf" srcId="{987A5031-6E17-4BC5-8615-AA707536ECA8}" destId="{CD0C79FD-935B-49B9-A539-7BF9126DE080}" srcOrd="1" destOrd="0" presId="urn:microsoft.com/office/officeart/2005/8/layout/target3"/>
    <dgm:cxn modelId="{510904CC-16DD-4431-A460-C0AA09DD4B7E}" type="presParOf" srcId="{987A5031-6E17-4BC5-8615-AA707536ECA8}" destId="{1210B2C4-3FF5-400D-9B5C-13D601D6433F}" srcOrd="2" destOrd="0" presId="urn:microsoft.com/office/officeart/2005/8/layout/target3"/>
    <dgm:cxn modelId="{820E1FF0-F47C-460E-91E1-5F5068131DC0}" type="presParOf" srcId="{987A5031-6E17-4BC5-8615-AA707536ECA8}" destId="{FF076E19-A449-496A-ADF8-AC0640A76B77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48" minVer="http://schemas.openxmlformats.org/drawingml/2006/diagram"/>
    </a:ext>
  </dgm:extLst>
</dgm:dataModel>
</file>

<file path=ppt/diagrams/data68.xml><?xml version="1.0" encoding="utf-8"?>
<dgm:dataModel xmlns:dgm="http://schemas.openxmlformats.org/drawingml/2006/diagram" xmlns:a="http://schemas.openxmlformats.org/drawingml/2006/main">
  <dgm:ptLst>
    <dgm:pt modelId="{D7FF1C02-574A-4D5A-9DB1-5702393A1312}" type="doc">
      <dgm:prSet loTypeId="urn:microsoft.com/office/officeart/2005/8/layout/vList2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72AE7A9-A593-4D0D-A685-F6645F4959D4}">
      <dgm:prSet/>
      <dgm:spPr>
        <a:solidFill>
          <a:srgbClr val="339933"/>
        </a:solidFill>
      </dgm:spPr>
      <dgm:t>
        <a:bodyPr/>
        <a:lstStyle/>
        <a:p>
          <a:pPr algn="ctr" rtl="0"/>
          <a:r>
            <a:rPr lang="de-DE" dirty="0" smtClean="0"/>
            <a:t>Höhere Handelsschule</a:t>
          </a:r>
          <a:endParaRPr lang="de-DE" dirty="0"/>
        </a:p>
      </dgm:t>
    </dgm:pt>
    <dgm:pt modelId="{6BFD0A00-9CD4-4CF3-BD09-EF672B24C2C2}" type="parTrans" cxnId="{03870465-4D35-40D6-9161-55D5C9BED98E}">
      <dgm:prSet/>
      <dgm:spPr/>
      <dgm:t>
        <a:bodyPr/>
        <a:lstStyle/>
        <a:p>
          <a:endParaRPr lang="de-DE"/>
        </a:p>
      </dgm:t>
    </dgm:pt>
    <dgm:pt modelId="{11228E36-81F7-4729-BC72-60CEB1B1F080}" type="sibTrans" cxnId="{03870465-4D35-40D6-9161-55D5C9BED98E}">
      <dgm:prSet/>
      <dgm:spPr/>
      <dgm:t>
        <a:bodyPr/>
        <a:lstStyle/>
        <a:p>
          <a:endParaRPr lang="de-DE"/>
        </a:p>
      </dgm:t>
    </dgm:pt>
    <dgm:pt modelId="{FC64C360-FD86-4F89-835A-930C37811C54}">
      <dgm:prSet/>
      <dgm:spPr>
        <a:solidFill>
          <a:srgbClr val="008000"/>
        </a:solidFill>
      </dgm:spPr>
      <dgm:t>
        <a:bodyPr/>
        <a:lstStyle/>
        <a:p>
          <a:pPr algn="ctr" rtl="0"/>
          <a:r>
            <a:rPr lang="de-DE" dirty="0" smtClean="0"/>
            <a:t>Höhere Technikschule</a:t>
          </a:r>
          <a:endParaRPr lang="de-DE" dirty="0"/>
        </a:p>
      </dgm:t>
    </dgm:pt>
    <dgm:pt modelId="{30422D7B-1D86-4386-AFA6-64170113C4EC}" type="parTrans" cxnId="{53EC2711-B8D4-4068-9313-46A1DD48DFE4}">
      <dgm:prSet/>
      <dgm:spPr/>
      <dgm:t>
        <a:bodyPr/>
        <a:lstStyle/>
        <a:p>
          <a:endParaRPr lang="de-DE"/>
        </a:p>
      </dgm:t>
    </dgm:pt>
    <dgm:pt modelId="{A089F408-1513-40C3-B87F-805C4E0767C4}" type="sibTrans" cxnId="{53EC2711-B8D4-4068-9313-46A1DD48DFE4}">
      <dgm:prSet/>
      <dgm:spPr/>
      <dgm:t>
        <a:bodyPr/>
        <a:lstStyle/>
        <a:p>
          <a:endParaRPr lang="de-DE"/>
        </a:p>
      </dgm:t>
    </dgm:pt>
    <dgm:pt modelId="{A52AC043-233C-4164-A400-88C2ACCCB01D}" type="pres">
      <dgm:prSet presAssocID="{D7FF1C02-574A-4D5A-9DB1-5702393A131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E265BD-3A54-4D8D-A3CE-374E5B877553}" type="pres">
      <dgm:prSet presAssocID="{F72AE7A9-A593-4D0D-A685-F6645F4959D4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5C9F863-9E60-4C9C-B9B0-322D7C847D2E}" type="pres">
      <dgm:prSet presAssocID="{11228E36-81F7-4729-BC72-60CEB1B1F080}" presName="spacer" presStyleCnt="0"/>
      <dgm:spPr/>
    </dgm:pt>
    <dgm:pt modelId="{5A4AC1E8-BC37-497E-A6F8-2260BDDE8496}" type="pres">
      <dgm:prSet presAssocID="{FC64C360-FD86-4F89-835A-930C37811C54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3EC2711-B8D4-4068-9313-46A1DD48DFE4}" srcId="{D7FF1C02-574A-4D5A-9DB1-5702393A1312}" destId="{FC64C360-FD86-4F89-835A-930C37811C54}" srcOrd="1" destOrd="0" parTransId="{30422D7B-1D86-4386-AFA6-64170113C4EC}" sibTransId="{A089F408-1513-40C3-B87F-805C4E0767C4}"/>
    <dgm:cxn modelId="{FA808647-4A1E-48B7-A9D7-8AF0DD59F3B5}" type="presOf" srcId="{FC64C360-FD86-4F89-835A-930C37811C54}" destId="{5A4AC1E8-BC37-497E-A6F8-2260BDDE8496}" srcOrd="0" destOrd="0" presId="urn:microsoft.com/office/officeart/2005/8/layout/vList2"/>
    <dgm:cxn modelId="{B5177B27-B207-474C-978F-A390F9E16833}" type="presOf" srcId="{D7FF1C02-574A-4D5A-9DB1-5702393A1312}" destId="{A52AC043-233C-4164-A400-88C2ACCCB01D}" srcOrd="0" destOrd="0" presId="urn:microsoft.com/office/officeart/2005/8/layout/vList2"/>
    <dgm:cxn modelId="{03870465-4D35-40D6-9161-55D5C9BED98E}" srcId="{D7FF1C02-574A-4D5A-9DB1-5702393A1312}" destId="{F72AE7A9-A593-4D0D-A685-F6645F4959D4}" srcOrd="0" destOrd="0" parTransId="{6BFD0A00-9CD4-4CF3-BD09-EF672B24C2C2}" sibTransId="{11228E36-81F7-4729-BC72-60CEB1B1F080}"/>
    <dgm:cxn modelId="{097B188A-61C1-4625-A354-B7B953791588}" type="presOf" srcId="{F72AE7A9-A593-4D0D-A685-F6645F4959D4}" destId="{E2E265BD-3A54-4D8D-A3CE-374E5B877553}" srcOrd="0" destOrd="0" presId="urn:microsoft.com/office/officeart/2005/8/layout/vList2"/>
    <dgm:cxn modelId="{2F7D3225-97A9-4F7C-843E-A2E2E6B75D96}" type="presParOf" srcId="{A52AC043-233C-4164-A400-88C2ACCCB01D}" destId="{E2E265BD-3A54-4D8D-A3CE-374E5B877553}" srcOrd="0" destOrd="0" presId="urn:microsoft.com/office/officeart/2005/8/layout/vList2"/>
    <dgm:cxn modelId="{3E42FAE8-C76B-43F0-8CDA-2F67B7987683}" type="presParOf" srcId="{A52AC043-233C-4164-A400-88C2ACCCB01D}" destId="{D5C9F863-9E60-4C9C-B9B0-322D7C847D2E}" srcOrd="1" destOrd="0" presId="urn:microsoft.com/office/officeart/2005/8/layout/vList2"/>
    <dgm:cxn modelId="{844D5FFB-FECF-4E47-806E-44D6367E878C}" type="presParOf" srcId="{A52AC043-233C-4164-A400-88C2ACCCB01D}" destId="{5A4AC1E8-BC37-497E-A6F8-2260BDDE8496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9.xml><?xml version="1.0" encoding="utf-8"?>
<dgm:dataModel xmlns:dgm="http://schemas.openxmlformats.org/drawingml/2006/diagram" xmlns:a="http://schemas.openxmlformats.org/drawingml/2006/main">
  <dgm:ptLst>
    <dgm:pt modelId="{D7FF1C02-574A-4D5A-9DB1-5702393A1312}" type="doc">
      <dgm:prSet loTypeId="urn:microsoft.com/office/officeart/2005/8/layout/vList2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72AE7A9-A593-4D0D-A685-F6645F4959D4}">
      <dgm:prSet/>
      <dgm:spPr>
        <a:solidFill>
          <a:srgbClr val="4085BF"/>
        </a:solidFill>
      </dgm:spPr>
      <dgm:t>
        <a:bodyPr/>
        <a:lstStyle/>
        <a:p>
          <a:pPr algn="ctr" rtl="0"/>
          <a:r>
            <a:rPr lang="de-DE" dirty="0" smtClean="0"/>
            <a:t>Hansa-Kolleg</a:t>
          </a:r>
          <a:endParaRPr lang="de-DE" dirty="0"/>
        </a:p>
      </dgm:t>
    </dgm:pt>
    <dgm:pt modelId="{6BFD0A00-9CD4-4CF3-BD09-EF672B24C2C2}" type="parTrans" cxnId="{03870465-4D35-40D6-9161-55D5C9BED98E}">
      <dgm:prSet/>
      <dgm:spPr/>
      <dgm:t>
        <a:bodyPr/>
        <a:lstStyle/>
        <a:p>
          <a:endParaRPr lang="de-DE"/>
        </a:p>
      </dgm:t>
    </dgm:pt>
    <dgm:pt modelId="{11228E36-81F7-4729-BC72-60CEB1B1F080}" type="sibTrans" cxnId="{03870465-4D35-40D6-9161-55D5C9BED98E}">
      <dgm:prSet/>
      <dgm:spPr/>
      <dgm:t>
        <a:bodyPr/>
        <a:lstStyle/>
        <a:p>
          <a:endParaRPr lang="de-DE"/>
        </a:p>
      </dgm:t>
    </dgm:pt>
    <dgm:pt modelId="{FC64C360-FD86-4F89-835A-930C37811C54}">
      <dgm:prSet/>
      <dgm:spPr>
        <a:solidFill>
          <a:srgbClr val="4085BF"/>
        </a:solidFill>
      </dgm:spPr>
      <dgm:t>
        <a:bodyPr/>
        <a:lstStyle/>
        <a:p>
          <a:pPr algn="ctr" rtl="0"/>
          <a:r>
            <a:rPr lang="de-DE" dirty="0" smtClean="0"/>
            <a:t>Abendgymnasium</a:t>
          </a:r>
          <a:endParaRPr lang="de-DE" dirty="0"/>
        </a:p>
      </dgm:t>
    </dgm:pt>
    <dgm:pt modelId="{30422D7B-1D86-4386-AFA6-64170113C4EC}" type="parTrans" cxnId="{53EC2711-B8D4-4068-9313-46A1DD48DFE4}">
      <dgm:prSet/>
      <dgm:spPr/>
      <dgm:t>
        <a:bodyPr/>
        <a:lstStyle/>
        <a:p>
          <a:endParaRPr lang="de-DE"/>
        </a:p>
      </dgm:t>
    </dgm:pt>
    <dgm:pt modelId="{A089F408-1513-40C3-B87F-805C4E0767C4}" type="sibTrans" cxnId="{53EC2711-B8D4-4068-9313-46A1DD48DFE4}">
      <dgm:prSet/>
      <dgm:spPr/>
      <dgm:t>
        <a:bodyPr/>
        <a:lstStyle/>
        <a:p>
          <a:endParaRPr lang="de-DE"/>
        </a:p>
      </dgm:t>
    </dgm:pt>
    <dgm:pt modelId="{42A35D23-C108-4EC0-9BFF-AAA02252F9D4}">
      <dgm:prSet/>
      <dgm:spPr>
        <a:solidFill>
          <a:srgbClr val="4085BF"/>
        </a:solidFill>
      </dgm:spPr>
      <dgm:t>
        <a:bodyPr/>
        <a:lstStyle/>
        <a:p>
          <a:pPr algn="ctr" rtl="0"/>
          <a:r>
            <a:rPr lang="de-DE" dirty="0" smtClean="0"/>
            <a:t>Berufliches Gymnasium</a:t>
          </a:r>
          <a:endParaRPr lang="de-DE" dirty="0"/>
        </a:p>
      </dgm:t>
    </dgm:pt>
    <dgm:pt modelId="{89295215-CFC8-4F11-A770-0F82E53CF1B4}" type="parTrans" cxnId="{3DCEA894-BCE7-4BAE-BE36-31DFFD964591}">
      <dgm:prSet/>
      <dgm:spPr/>
      <dgm:t>
        <a:bodyPr/>
        <a:lstStyle/>
        <a:p>
          <a:endParaRPr lang="de-DE"/>
        </a:p>
      </dgm:t>
    </dgm:pt>
    <dgm:pt modelId="{0E29412A-D9E9-46AC-A496-67D59168F511}" type="sibTrans" cxnId="{3DCEA894-BCE7-4BAE-BE36-31DFFD964591}">
      <dgm:prSet/>
      <dgm:spPr/>
      <dgm:t>
        <a:bodyPr/>
        <a:lstStyle/>
        <a:p>
          <a:endParaRPr lang="de-DE"/>
        </a:p>
      </dgm:t>
    </dgm:pt>
    <dgm:pt modelId="{A52AC043-233C-4164-A400-88C2ACCCB01D}" type="pres">
      <dgm:prSet presAssocID="{D7FF1C02-574A-4D5A-9DB1-5702393A131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E265BD-3A54-4D8D-A3CE-374E5B877553}" type="pres">
      <dgm:prSet presAssocID="{F72AE7A9-A593-4D0D-A685-F6645F4959D4}" presName="parentText" presStyleLbl="node1" presStyleIdx="0" presStyleCnt="3" custLinFactY="-500000" custLinFactNeighborX="-25938" custLinFactNeighborY="-558708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5C9F863-9E60-4C9C-B9B0-322D7C847D2E}" type="pres">
      <dgm:prSet presAssocID="{11228E36-81F7-4729-BC72-60CEB1B1F080}" presName="spacer" presStyleCnt="0"/>
      <dgm:spPr/>
    </dgm:pt>
    <dgm:pt modelId="{5A4AC1E8-BC37-497E-A6F8-2260BDDE8496}" type="pres">
      <dgm:prSet presAssocID="{FC64C360-FD86-4F89-835A-930C37811C54}" presName="parentText" presStyleLbl="node1" presStyleIdx="1" presStyleCnt="3" custLinFactNeighborY="-6991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24BEAA8-8EEA-45F3-80BA-0972BD28D5E7}" type="pres">
      <dgm:prSet presAssocID="{A089F408-1513-40C3-B87F-805C4E0767C4}" presName="spacer" presStyleCnt="0"/>
      <dgm:spPr/>
    </dgm:pt>
    <dgm:pt modelId="{2EE2C953-5109-4E93-A076-FDC68F9C993D}" type="pres">
      <dgm:prSet presAssocID="{42A35D23-C108-4EC0-9BFF-AAA02252F9D4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3870465-4D35-40D6-9161-55D5C9BED98E}" srcId="{D7FF1C02-574A-4D5A-9DB1-5702393A1312}" destId="{F72AE7A9-A593-4D0D-A685-F6645F4959D4}" srcOrd="0" destOrd="0" parTransId="{6BFD0A00-9CD4-4CF3-BD09-EF672B24C2C2}" sibTransId="{11228E36-81F7-4729-BC72-60CEB1B1F080}"/>
    <dgm:cxn modelId="{3F276DCB-33B8-4818-ADFA-3AB0E6847800}" type="presOf" srcId="{42A35D23-C108-4EC0-9BFF-AAA02252F9D4}" destId="{2EE2C953-5109-4E93-A076-FDC68F9C993D}" srcOrd="0" destOrd="0" presId="urn:microsoft.com/office/officeart/2005/8/layout/vList2"/>
    <dgm:cxn modelId="{CE28EA7C-CA9B-4926-B752-B579F70B4D5C}" type="presOf" srcId="{D7FF1C02-574A-4D5A-9DB1-5702393A1312}" destId="{A52AC043-233C-4164-A400-88C2ACCCB01D}" srcOrd="0" destOrd="0" presId="urn:microsoft.com/office/officeart/2005/8/layout/vList2"/>
    <dgm:cxn modelId="{53EC2711-B8D4-4068-9313-46A1DD48DFE4}" srcId="{D7FF1C02-574A-4D5A-9DB1-5702393A1312}" destId="{FC64C360-FD86-4F89-835A-930C37811C54}" srcOrd="1" destOrd="0" parTransId="{30422D7B-1D86-4386-AFA6-64170113C4EC}" sibTransId="{A089F408-1513-40C3-B87F-805C4E0767C4}"/>
    <dgm:cxn modelId="{90FBD68C-4AD4-4AE1-A429-DDC3FB531518}" type="presOf" srcId="{FC64C360-FD86-4F89-835A-930C37811C54}" destId="{5A4AC1E8-BC37-497E-A6F8-2260BDDE8496}" srcOrd="0" destOrd="0" presId="urn:microsoft.com/office/officeart/2005/8/layout/vList2"/>
    <dgm:cxn modelId="{80FEF5FE-2B34-40C3-A1EE-9A9C6BC46331}" type="presOf" srcId="{F72AE7A9-A593-4D0D-A685-F6645F4959D4}" destId="{E2E265BD-3A54-4D8D-A3CE-374E5B877553}" srcOrd="0" destOrd="0" presId="urn:microsoft.com/office/officeart/2005/8/layout/vList2"/>
    <dgm:cxn modelId="{3DCEA894-BCE7-4BAE-BE36-31DFFD964591}" srcId="{D7FF1C02-574A-4D5A-9DB1-5702393A1312}" destId="{42A35D23-C108-4EC0-9BFF-AAA02252F9D4}" srcOrd="2" destOrd="0" parTransId="{89295215-CFC8-4F11-A770-0F82E53CF1B4}" sibTransId="{0E29412A-D9E9-46AC-A496-67D59168F511}"/>
    <dgm:cxn modelId="{59D477CB-6EC3-4BE9-B4CB-51253E397EB5}" type="presParOf" srcId="{A52AC043-233C-4164-A400-88C2ACCCB01D}" destId="{E2E265BD-3A54-4D8D-A3CE-374E5B877553}" srcOrd="0" destOrd="0" presId="urn:microsoft.com/office/officeart/2005/8/layout/vList2"/>
    <dgm:cxn modelId="{3BAD78ED-69F9-466C-B818-4153E06BB376}" type="presParOf" srcId="{A52AC043-233C-4164-A400-88C2ACCCB01D}" destId="{D5C9F863-9E60-4C9C-B9B0-322D7C847D2E}" srcOrd="1" destOrd="0" presId="urn:microsoft.com/office/officeart/2005/8/layout/vList2"/>
    <dgm:cxn modelId="{9958A36D-CFF6-4BF0-8BDA-7BBD9D2C1D08}" type="presParOf" srcId="{A52AC043-233C-4164-A400-88C2ACCCB01D}" destId="{5A4AC1E8-BC37-497E-A6F8-2260BDDE8496}" srcOrd="2" destOrd="0" presId="urn:microsoft.com/office/officeart/2005/8/layout/vList2"/>
    <dgm:cxn modelId="{9AFB826D-6430-44B4-B590-A186D30B1A26}" type="presParOf" srcId="{A52AC043-233C-4164-A400-88C2ACCCB01D}" destId="{324BEAA8-8EEA-45F3-80BA-0972BD28D5E7}" srcOrd="3" destOrd="0" presId="urn:microsoft.com/office/officeart/2005/8/layout/vList2"/>
    <dgm:cxn modelId="{1E6D166A-4EC4-40A9-98FB-D0B21480C8F0}" type="presParOf" srcId="{A52AC043-233C-4164-A400-88C2ACCCB01D}" destId="{2EE2C953-5109-4E93-A076-FDC68F9C993D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lebendige Diskussionskultur und Demokratieerziehung</a:t>
          </a: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0000" custScaleY="224093" custLinFactY="26668" custLinFactNeighborX="1191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4C77875F-1799-44A1-9866-4D182C4515E6}" type="presOf" srcId="{535198FA-1CD5-4CD7-892B-0AFAE5FAC363}" destId="{7328831C-A7AC-48C3-B011-46774979AC11}" srcOrd="0" destOrd="0" presId="urn:microsoft.com/office/officeart/2005/8/layout/vList2"/>
    <dgm:cxn modelId="{308A4C0E-03A9-42CE-9A3F-8686CA06D2CB}" type="presOf" srcId="{F168D0D7-DD15-4F69-8DEA-3E59459CE995}" destId="{5C44AA69-D049-4B71-AE2C-A2059F01FF6F}" srcOrd="0" destOrd="0" presId="urn:microsoft.com/office/officeart/2005/8/layout/vList2"/>
    <dgm:cxn modelId="{B27F588E-F94B-40C0-B269-33B4BA26A4B8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70.xml><?xml version="1.0" encoding="utf-8"?>
<dgm:dataModel xmlns:dgm="http://schemas.openxmlformats.org/drawingml/2006/diagram" xmlns:a="http://schemas.openxmlformats.org/drawingml/2006/main">
  <dgm:ptLst>
    <dgm:pt modelId="{389960F6-EC27-46EC-8264-9CFD0B1C1697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C6E98872-F50A-4130-8DF8-BC669DB85306}">
      <dgm:prSet custT="1"/>
      <dgm:spPr>
        <a:solidFill>
          <a:schemeClr val="bg1">
            <a:lumMod val="95000"/>
            <a:alpha val="90000"/>
          </a:schemeClr>
        </a:solidFill>
      </dgm:spPr>
      <dgm:t>
        <a:bodyPr/>
        <a:lstStyle/>
        <a:p>
          <a:pPr rtl="0"/>
          <a:r>
            <a:rPr lang="de-DE" sz="1100" b="1" dirty="0" smtClean="0"/>
            <a:t>MSA</a:t>
          </a:r>
          <a:endParaRPr lang="de-DE" sz="1300" dirty="0"/>
        </a:p>
      </dgm:t>
    </dgm:pt>
    <dgm:pt modelId="{769A0719-8ADB-45CA-9CC2-3078ED871162}" type="parTrans" cxnId="{C4C109D0-6ABA-43C9-9A72-17C2A06D69A1}">
      <dgm:prSet/>
      <dgm:spPr/>
      <dgm:t>
        <a:bodyPr/>
        <a:lstStyle/>
        <a:p>
          <a:endParaRPr lang="de-DE"/>
        </a:p>
      </dgm:t>
    </dgm:pt>
    <dgm:pt modelId="{9ED91DDE-9531-4574-AEF0-96784F79D869}" type="sibTrans" cxnId="{C4C109D0-6ABA-43C9-9A72-17C2A06D69A1}">
      <dgm:prSet/>
      <dgm:spPr/>
      <dgm:t>
        <a:bodyPr/>
        <a:lstStyle/>
        <a:p>
          <a:endParaRPr lang="de-DE"/>
        </a:p>
      </dgm:t>
    </dgm:pt>
    <dgm:pt modelId="{0C109EDC-CD77-4751-9DF9-03CE32979C58}" type="pres">
      <dgm:prSet presAssocID="{389960F6-EC27-46EC-8264-9CFD0B1C1697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D763A7F-103A-4F67-8691-0120A095BEEB}" type="pres">
      <dgm:prSet presAssocID="{C6E98872-F50A-4130-8DF8-BC669DB85306}" presName="circle1" presStyleLbl="node1" presStyleIdx="0" presStyleCnt="1"/>
      <dgm:spPr>
        <a:solidFill>
          <a:schemeClr val="bg1"/>
        </a:solidFill>
      </dgm:spPr>
    </dgm:pt>
    <dgm:pt modelId="{931BA53C-B79B-414F-B4A6-C6D8B2775EB9}" type="pres">
      <dgm:prSet presAssocID="{C6E98872-F50A-4130-8DF8-BC669DB85306}" presName="space" presStyleCnt="0"/>
      <dgm:spPr/>
    </dgm:pt>
    <dgm:pt modelId="{5BE71CA0-12D7-454E-AD45-EE860C6BFD16}" type="pres">
      <dgm:prSet presAssocID="{C6E98872-F50A-4130-8DF8-BC669DB85306}" presName="rect1" presStyleLbl="alignAcc1" presStyleIdx="0" presStyleCnt="1" custLinFactNeighborY="19159"/>
      <dgm:spPr/>
      <dgm:t>
        <a:bodyPr/>
        <a:lstStyle/>
        <a:p>
          <a:endParaRPr lang="de-DE"/>
        </a:p>
      </dgm:t>
    </dgm:pt>
    <dgm:pt modelId="{CD514C0F-AB1F-46E5-805E-B7BC80E0F44E}" type="pres">
      <dgm:prSet presAssocID="{C6E98872-F50A-4130-8DF8-BC669DB85306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4C109D0-6ABA-43C9-9A72-17C2A06D69A1}" srcId="{389960F6-EC27-46EC-8264-9CFD0B1C1697}" destId="{C6E98872-F50A-4130-8DF8-BC669DB85306}" srcOrd="0" destOrd="0" parTransId="{769A0719-8ADB-45CA-9CC2-3078ED871162}" sibTransId="{9ED91DDE-9531-4574-AEF0-96784F79D869}"/>
    <dgm:cxn modelId="{55F832AC-C1BC-41BB-BA11-0BF04179C635}" type="presOf" srcId="{C6E98872-F50A-4130-8DF8-BC669DB85306}" destId="{CD514C0F-AB1F-46E5-805E-B7BC80E0F44E}" srcOrd="1" destOrd="0" presId="urn:microsoft.com/office/officeart/2005/8/layout/target3"/>
    <dgm:cxn modelId="{963D48FF-4047-440A-A6F7-F978C91288F1}" type="presOf" srcId="{389960F6-EC27-46EC-8264-9CFD0B1C1697}" destId="{0C109EDC-CD77-4751-9DF9-03CE32979C58}" srcOrd="0" destOrd="0" presId="urn:microsoft.com/office/officeart/2005/8/layout/target3"/>
    <dgm:cxn modelId="{C8699E67-C342-48D4-AD35-FA8930DD5F2C}" type="presOf" srcId="{C6E98872-F50A-4130-8DF8-BC669DB85306}" destId="{5BE71CA0-12D7-454E-AD45-EE860C6BFD16}" srcOrd="0" destOrd="0" presId="urn:microsoft.com/office/officeart/2005/8/layout/target3"/>
    <dgm:cxn modelId="{E0E500A0-92CF-4767-A445-F75DFF998AAE}" type="presParOf" srcId="{0C109EDC-CD77-4751-9DF9-03CE32979C58}" destId="{3D763A7F-103A-4F67-8691-0120A095BEEB}" srcOrd="0" destOrd="0" presId="urn:microsoft.com/office/officeart/2005/8/layout/target3"/>
    <dgm:cxn modelId="{63390152-58E2-4A56-B506-24745A318C50}" type="presParOf" srcId="{0C109EDC-CD77-4751-9DF9-03CE32979C58}" destId="{931BA53C-B79B-414F-B4A6-C6D8B2775EB9}" srcOrd="1" destOrd="0" presId="urn:microsoft.com/office/officeart/2005/8/layout/target3"/>
    <dgm:cxn modelId="{792B2A62-3853-431F-A64C-1382ED58A98D}" type="presParOf" srcId="{0C109EDC-CD77-4751-9DF9-03CE32979C58}" destId="{5BE71CA0-12D7-454E-AD45-EE860C6BFD16}" srcOrd="2" destOrd="0" presId="urn:microsoft.com/office/officeart/2005/8/layout/target3"/>
    <dgm:cxn modelId="{18FA4AC6-2801-4F4A-B347-B423F9F189CD}" type="presParOf" srcId="{0C109EDC-CD77-4751-9DF9-03CE32979C58}" destId="{CD514C0F-AB1F-46E5-805E-B7BC80E0F44E}" srcOrd="3" destOrd="0" presId="urn:microsoft.com/office/officeart/2005/8/layout/target3"/>
  </dgm:cxnLst>
  <dgm:bg>
    <a:noFill/>
  </dgm:bg>
  <dgm:whole/>
  <dgm:extLst>
    <a:ext uri="http://schemas.microsoft.com/office/drawing/2008/diagram">
      <dsp:dataModelExt xmlns:dsp="http://schemas.microsoft.com/office/drawing/2008/diagram" relId="rId64" minVer="http://schemas.openxmlformats.org/drawingml/2006/diagram"/>
    </a:ext>
  </dgm:extLst>
</dgm:dataModel>
</file>

<file path=ppt/diagrams/data71.xml><?xml version="1.0" encoding="utf-8"?>
<dgm:dataModel xmlns:dgm="http://schemas.openxmlformats.org/drawingml/2006/diagram" xmlns:a="http://schemas.openxmlformats.org/drawingml/2006/main">
  <dgm:ptLst>
    <dgm:pt modelId="{5457E91D-7224-4819-93A5-696E4F13DB5C}" type="doc">
      <dgm:prSet loTypeId="urn:microsoft.com/office/officeart/2005/8/layout/target3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de-DE"/>
        </a:p>
      </dgm:t>
    </dgm:pt>
    <dgm:pt modelId="{0ACD2EEC-F21B-475D-832C-3C5B68206CFF}">
      <dgm:prSet custT="1"/>
      <dgm:spPr>
        <a:solidFill>
          <a:schemeClr val="bg1">
            <a:lumMod val="95000"/>
            <a:alpha val="90000"/>
          </a:schemeClr>
        </a:solidFill>
      </dgm:spPr>
      <dgm:t>
        <a:bodyPr/>
        <a:lstStyle/>
        <a:p>
          <a:pPr rtl="0"/>
          <a:r>
            <a:rPr lang="de-DE" sz="1100" b="1" dirty="0" smtClean="0"/>
            <a:t>e/ESA</a:t>
          </a:r>
          <a:endParaRPr lang="de-DE" sz="1200" dirty="0"/>
        </a:p>
      </dgm:t>
    </dgm:pt>
    <dgm:pt modelId="{0B60976D-432E-4BAC-AE60-F27D9E00768E}" type="parTrans" cxnId="{81B27B51-255B-4CCE-AA21-EA4CEE90A23E}">
      <dgm:prSet/>
      <dgm:spPr/>
      <dgm:t>
        <a:bodyPr/>
        <a:lstStyle/>
        <a:p>
          <a:endParaRPr lang="de-DE"/>
        </a:p>
      </dgm:t>
    </dgm:pt>
    <dgm:pt modelId="{BFF788CF-183C-476C-AC67-2A8C693A9131}" type="sibTrans" cxnId="{81B27B51-255B-4CCE-AA21-EA4CEE90A23E}">
      <dgm:prSet/>
      <dgm:spPr/>
      <dgm:t>
        <a:bodyPr/>
        <a:lstStyle/>
        <a:p>
          <a:endParaRPr lang="de-DE"/>
        </a:p>
      </dgm:t>
    </dgm:pt>
    <dgm:pt modelId="{E7624AEA-8850-417C-BA4B-8F63DFB167FA}" type="pres">
      <dgm:prSet presAssocID="{5457E91D-7224-4819-93A5-696E4F13DB5C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0CE43B1-E114-4EF9-ABFC-52EDAC34ABC1}" type="pres">
      <dgm:prSet presAssocID="{0ACD2EEC-F21B-475D-832C-3C5B68206CFF}" presName="circle1" presStyleLbl="node1" presStyleIdx="0" presStyleCnt="1"/>
      <dgm:spPr>
        <a:solidFill>
          <a:schemeClr val="bg1"/>
        </a:solidFill>
      </dgm:spPr>
    </dgm:pt>
    <dgm:pt modelId="{A39E09EF-E81A-44DF-BC0E-156AFF850A2D}" type="pres">
      <dgm:prSet presAssocID="{0ACD2EEC-F21B-475D-832C-3C5B68206CFF}" presName="space" presStyleCnt="0"/>
      <dgm:spPr/>
    </dgm:pt>
    <dgm:pt modelId="{2DBA2483-F5F9-4F95-8AEC-9CA7DDEF8408}" type="pres">
      <dgm:prSet presAssocID="{0ACD2EEC-F21B-475D-832C-3C5B68206CFF}" presName="rect1" presStyleLbl="alignAcc1" presStyleIdx="0" presStyleCnt="1" custScaleX="115351" custScaleY="100000" custLinFactNeighborY="20326"/>
      <dgm:spPr/>
      <dgm:t>
        <a:bodyPr/>
        <a:lstStyle/>
        <a:p>
          <a:endParaRPr lang="de-DE"/>
        </a:p>
      </dgm:t>
    </dgm:pt>
    <dgm:pt modelId="{B9455B9B-EAB7-477F-A52C-679DA683B8F6}" type="pres">
      <dgm:prSet presAssocID="{0ACD2EEC-F21B-475D-832C-3C5B68206CFF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1B27B51-255B-4CCE-AA21-EA4CEE90A23E}" srcId="{5457E91D-7224-4819-93A5-696E4F13DB5C}" destId="{0ACD2EEC-F21B-475D-832C-3C5B68206CFF}" srcOrd="0" destOrd="0" parTransId="{0B60976D-432E-4BAC-AE60-F27D9E00768E}" sibTransId="{BFF788CF-183C-476C-AC67-2A8C693A9131}"/>
    <dgm:cxn modelId="{BAD78063-3DFD-4BE7-9712-AEA16D43D1C5}" type="presOf" srcId="{0ACD2EEC-F21B-475D-832C-3C5B68206CFF}" destId="{2DBA2483-F5F9-4F95-8AEC-9CA7DDEF8408}" srcOrd="0" destOrd="0" presId="urn:microsoft.com/office/officeart/2005/8/layout/target3"/>
    <dgm:cxn modelId="{DB177098-FD97-43CF-9A4D-FB5E5A531C7E}" type="presOf" srcId="{0ACD2EEC-F21B-475D-832C-3C5B68206CFF}" destId="{B9455B9B-EAB7-477F-A52C-679DA683B8F6}" srcOrd="1" destOrd="0" presId="urn:microsoft.com/office/officeart/2005/8/layout/target3"/>
    <dgm:cxn modelId="{D61576D1-BFC8-47EF-B6A5-64BFDDF9D803}" type="presOf" srcId="{5457E91D-7224-4819-93A5-696E4F13DB5C}" destId="{E7624AEA-8850-417C-BA4B-8F63DFB167FA}" srcOrd="0" destOrd="0" presId="urn:microsoft.com/office/officeart/2005/8/layout/target3"/>
    <dgm:cxn modelId="{39597805-2028-4C5A-B64D-DAABDBB42EFD}" type="presParOf" srcId="{E7624AEA-8850-417C-BA4B-8F63DFB167FA}" destId="{10CE43B1-E114-4EF9-ABFC-52EDAC34ABC1}" srcOrd="0" destOrd="0" presId="urn:microsoft.com/office/officeart/2005/8/layout/target3"/>
    <dgm:cxn modelId="{8959C563-AA58-4C94-833B-CA5F9ABF0FCA}" type="presParOf" srcId="{E7624AEA-8850-417C-BA4B-8F63DFB167FA}" destId="{A39E09EF-E81A-44DF-BC0E-156AFF850A2D}" srcOrd="1" destOrd="0" presId="urn:microsoft.com/office/officeart/2005/8/layout/target3"/>
    <dgm:cxn modelId="{E139CA7A-583B-46EE-9F6A-7202784FC521}" type="presParOf" srcId="{E7624AEA-8850-417C-BA4B-8F63DFB167FA}" destId="{2DBA2483-F5F9-4F95-8AEC-9CA7DDEF8408}" srcOrd="2" destOrd="0" presId="urn:microsoft.com/office/officeart/2005/8/layout/target3"/>
    <dgm:cxn modelId="{FBBF2087-38D1-4075-B953-1DAA10756813}" type="presParOf" srcId="{E7624AEA-8850-417C-BA4B-8F63DFB167FA}" destId="{B9455B9B-EAB7-477F-A52C-679DA683B8F6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9" minVer="http://schemas.openxmlformats.org/drawingml/2006/diagram"/>
    </a:ext>
  </dgm:extLst>
</dgm:dataModel>
</file>

<file path=ppt/diagrams/data72.xml><?xml version="1.0" encoding="utf-8"?>
<dgm:dataModel xmlns:dgm="http://schemas.openxmlformats.org/drawingml/2006/diagram" xmlns:a="http://schemas.openxmlformats.org/drawingml/2006/main">
  <dgm:ptLst>
    <dgm:pt modelId="{389960F6-EC27-46EC-8264-9CFD0B1C1697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C6E98872-F50A-4130-8DF8-BC669DB85306}">
      <dgm:prSet custT="1"/>
      <dgm:spPr>
        <a:solidFill>
          <a:schemeClr val="bg1">
            <a:lumMod val="95000"/>
            <a:alpha val="90000"/>
          </a:schemeClr>
        </a:solidFill>
      </dgm:spPr>
      <dgm:t>
        <a:bodyPr/>
        <a:lstStyle/>
        <a:p>
          <a:pPr rtl="0"/>
          <a:r>
            <a:rPr lang="de-DE" sz="1100" b="1" dirty="0" smtClean="0"/>
            <a:t>MSA</a:t>
          </a:r>
          <a:endParaRPr lang="de-DE" sz="1300" dirty="0"/>
        </a:p>
      </dgm:t>
    </dgm:pt>
    <dgm:pt modelId="{769A0719-8ADB-45CA-9CC2-3078ED871162}" type="parTrans" cxnId="{C4C109D0-6ABA-43C9-9A72-17C2A06D69A1}">
      <dgm:prSet/>
      <dgm:spPr/>
      <dgm:t>
        <a:bodyPr/>
        <a:lstStyle/>
        <a:p>
          <a:endParaRPr lang="de-DE"/>
        </a:p>
      </dgm:t>
    </dgm:pt>
    <dgm:pt modelId="{9ED91DDE-9531-4574-AEF0-96784F79D869}" type="sibTrans" cxnId="{C4C109D0-6ABA-43C9-9A72-17C2A06D69A1}">
      <dgm:prSet/>
      <dgm:spPr/>
      <dgm:t>
        <a:bodyPr/>
        <a:lstStyle/>
        <a:p>
          <a:endParaRPr lang="de-DE"/>
        </a:p>
      </dgm:t>
    </dgm:pt>
    <dgm:pt modelId="{0C109EDC-CD77-4751-9DF9-03CE32979C58}" type="pres">
      <dgm:prSet presAssocID="{389960F6-EC27-46EC-8264-9CFD0B1C1697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D763A7F-103A-4F67-8691-0120A095BEEB}" type="pres">
      <dgm:prSet presAssocID="{C6E98872-F50A-4130-8DF8-BC669DB85306}" presName="circle1" presStyleLbl="node1" presStyleIdx="0" presStyleCnt="1"/>
      <dgm:spPr>
        <a:solidFill>
          <a:schemeClr val="bg1"/>
        </a:solidFill>
      </dgm:spPr>
    </dgm:pt>
    <dgm:pt modelId="{931BA53C-B79B-414F-B4A6-C6D8B2775EB9}" type="pres">
      <dgm:prSet presAssocID="{C6E98872-F50A-4130-8DF8-BC669DB85306}" presName="space" presStyleCnt="0"/>
      <dgm:spPr/>
    </dgm:pt>
    <dgm:pt modelId="{5BE71CA0-12D7-454E-AD45-EE860C6BFD16}" type="pres">
      <dgm:prSet presAssocID="{C6E98872-F50A-4130-8DF8-BC669DB85306}" presName="rect1" presStyleLbl="alignAcc1" presStyleIdx="0" presStyleCnt="1" custScaleX="114888" custLinFactNeighborX="1898" custLinFactNeighborY="-6522"/>
      <dgm:spPr/>
      <dgm:t>
        <a:bodyPr/>
        <a:lstStyle/>
        <a:p>
          <a:endParaRPr lang="de-DE"/>
        </a:p>
      </dgm:t>
    </dgm:pt>
    <dgm:pt modelId="{CD514C0F-AB1F-46E5-805E-B7BC80E0F44E}" type="pres">
      <dgm:prSet presAssocID="{C6E98872-F50A-4130-8DF8-BC669DB85306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4C109D0-6ABA-43C9-9A72-17C2A06D69A1}" srcId="{389960F6-EC27-46EC-8264-9CFD0B1C1697}" destId="{C6E98872-F50A-4130-8DF8-BC669DB85306}" srcOrd="0" destOrd="0" parTransId="{769A0719-8ADB-45CA-9CC2-3078ED871162}" sibTransId="{9ED91DDE-9531-4574-AEF0-96784F79D869}"/>
    <dgm:cxn modelId="{8F37D425-7EF7-443E-AF8D-1E67949D86CE}" type="presOf" srcId="{C6E98872-F50A-4130-8DF8-BC669DB85306}" destId="{CD514C0F-AB1F-46E5-805E-B7BC80E0F44E}" srcOrd="1" destOrd="0" presId="urn:microsoft.com/office/officeart/2005/8/layout/target3"/>
    <dgm:cxn modelId="{12748809-3731-4BEE-8DEB-89F7576B0383}" type="presOf" srcId="{389960F6-EC27-46EC-8264-9CFD0B1C1697}" destId="{0C109EDC-CD77-4751-9DF9-03CE32979C58}" srcOrd="0" destOrd="0" presId="urn:microsoft.com/office/officeart/2005/8/layout/target3"/>
    <dgm:cxn modelId="{4671836E-0A04-4165-A6E6-C50B3DC91B50}" type="presOf" srcId="{C6E98872-F50A-4130-8DF8-BC669DB85306}" destId="{5BE71CA0-12D7-454E-AD45-EE860C6BFD16}" srcOrd="0" destOrd="0" presId="urn:microsoft.com/office/officeart/2005/8/layout/target3"/>
    <dgm:cxn modelId="{D0628A20-B7CF-4927-AA6A-3944C4F1EF62}" type="presParOf" srcId="{0C109EDC-CD77-4751-9DF9-03CE32979C58}" destId="{3D763A7F-103A-4F67-8691-0120A095BEEB}" srcOrd="0" destOrd="0" presId="urn:microsoft.com/office/officeart/2005/8/layout/target3"/>
    <dgm:cxn modelId="{817B6C67-AE2B-483D-B480-0C78CCD17474}" type="presParOf" srcId="{0C109EDC-CD77-4751-9DF9-03CE32979C58}" destId="{931BA53C-B79B-414F-B4A6-C6D8B2775EB9}" srcOrd="1" destOrd="0" presId="urn:microsoft.com/office/officeart/2005/8/layout/target3"/>
    <dgm:cxn modelId="{F95AB897-C6FF-4698-BFF1-F61922E62C95}" type="presParOf" srcId="{0C109EDC-CD77-4751-9DF9-03CE32979C58}" destId="{5BE71CA0-12D7-454E-AD45-EE860C6BFD16}" srcOrd="2" destOrd="0" presId="urn:microsoft.com/office/officeart/2005/8/layout/target3"/>
    <dgm:cxn modelId="{8D04AFE9-A790-4730-9DE1-69BDA251A14B}" type="presParOf" srcId="{0C109EDC-CD77-4751-9DF9-03CE32979C58}" destId="{CD514C0F-AB1F-46E5-805E-B7BC80E0F44E}" srcOrd="3" destOrd="0" presId="urn:microsoft.com/office/officeart/2005/8/layout/target3"/>
  </dgm:cxnLst>
  <dgm:bg>
    <a:noFill/>
  </dgm:bg>
  <dgm:whole/>
  <dgm:extLst>
    <a:ext uri="http://schemas.microsoft.com/office/drawing/2008/diagram">
      <dsp:dataModelExt xmlns:dsp="http://schemas.microsoft.com/office/drawing/2008/diagram" relId="rId74" minVer="http://schemas.openxmlformats.org/drawingml/2006/diagram"/>
    </a:ext>
  </dgm:extLst>
</dgm:dataModel>
</file>

<file path=ppt/diagrams/data73.xml><?xml version="1.0" encoding="utf-8"?>
<dgm:dataModel xmlns:dgm="http://schemas.openxmlformats.org/drawingml/2006/diagram" xmlns:a="http://schemas.openxmlformats.org/drawingml/2006/main">
  <dgm:ptLst>
    <dgm:pt modelId="{D7FF1C02-574A-4D5A-9DB1-5702393A1312}" type="doc">
      <dgm:prSet loTypeId="urn:microsoft.com/office/officeart/2005/8/layout/vList2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72AE7A9-A593-4D0D-A685-F6645F4959D4}">
      <dgm:prSet custT="1"/>
      <dgm:spPr>
        <a:solidFill>
          <a:schemeClr val="accent1"/>
        </a:solidFill>
      </dgm:spPr>
      <dgm:t>
        <a:bodyPr/>
        <a:lstStyle/>
        <a:p>
          <a:pPr algn="ctr" rtl="0"/>
          <a:r>
            <a:rPr lang="de-DE" sz="1000" dirty="0" smtClean="0"/>
            <a:t>Mittlerer Schulabschluss</a:t>
          </a:r>
          <a:endParaRPr lang="de-DE" sz="1000" dirty="0"/>
        </a:p>
      </dgm:t>
    </dgm:pt>
    <dgm:pt modelId="{6BFD0A00-9CD4-4CF3-BD09-EF672B24C2C2}" type="parTrans" cxnId="{03870465-4D35-40D6-9161-55D5C9BED98E}">
      <dgm:prSet/>
      <dgm:spPr/>
      <dgm:t>
        <a:bodyPr/>
        <a:lstStyle/>
        <a:p>
          <a:endParaRPr lang="de-DE"/>
        </a:p>
      </dgm:t>
    </dgm:pt>
    <dgm:pt modelId="{11228E36-81F7-4729-BC72-60CEB1B1F080}" type="sibTrans" cxnId="{03870465-4D35-40D6-9161-55D5C9BED98E}">
      <dgm:prSet/>
      <dgm:spPr/>
      <dgm:t>
        <a:bodyPr/>
        <a:lstStyle/>
        <a:p>
          <a:endParaRPr lang="de-DE"/>
        </a:p>
      </dgm:t>
    </dgm:pt>
    <dgm:pt modelId="{FC64C360-FD86-4F89-835A-930C37811C54}">
      <dgm:prSet custT="1"/>
      <dgm:spPr>
        <a:solidFill>
          <a:schemeClr val="accent2"/>
        </a:solidFill>
        <a:effectLst/>
      </dgm:spPr>
      <dgm:t>
        <a:bodyPr/>
        <a:lstStyle/>
        <a:p>
          <a:pPr algn="ctr" rtl="0"/>
          <a:r>
            <a:rPr lang="de-DE" sz="1000" dirty="0" smtClean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rPr>
            <a:t>erweiterter / Erster allgemeinbildender Schulabschluss</a:t>
          </a:r>
          <a:endParaRPr lang="de-DE" sz="1000" dirty="0"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a:endParaRPr>
        </a:p>
      </dgm:t>
    </dgm:pt>
    <dgm:pt modelId="{30422D7B-1D86-4386-AFA6-64170113C4EC}" type="parTrans" cxnId="{53EC2711-B8D4-4068-9313-46A1DD48DFE4}">
      <dgm:prSet/>
      <dgm:spPr/>
      <dgm:t>
        <a:bodyPr/>
        <a:lstStyle/>
        <a:p>
          <a:endParaRPr lang="de-DE"/>
        </a:p>
      </dgm:t>
    </dgm:pt>
    <dgm:pt modelId="{A089F408-1513-40C3-B87F-805C4E0767C4}" type="sibTrans" cxnId="{53EC2711-B8D4-4068-9313-46A1DD48DFE4}">
      <dgm:prSet/>
      <dgm:spPr/>
      <dgm:t>
        <a:bodyPr/>
        <a:lstStyle/>
        <a:p>
          <a:endParaRPr lang="de-DE"/>
        </a:p>
      </dgm:t>
    </dgm:pt>
    <dgm:pt modelId="{A52AC043-233C-4164-A400-88C2ACCCB01D}" type="pres">
      <dgm:prSet presAssocID="{D7FF1C02-574A-4D5A-9DB1-5702393A131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E265BD-3A54-4D8D-A3CE-374E5B877553}" type="pres">
      <dgm:prSet presAssocID="{F72AE7A9-A593-4D0D-A685-F6645F4959D4}" presName="parentText" presStyleLbl="node1" presStyleIdx="0" presStyleCnt="2" custLinFactNeighborX="-2605" custLinFactNeighborY="-768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5C9F863-9E60-4C9C-B9B0-322D7C847D2E}" type="pres">
      <dgm:prSet presAssocID="{11228E36-81F7-4729-BC72-60CEB1B1F080}" presName="spacer" presStyleCnt="0"/>
      <dgm:spPr/>
    </dgm:pt>
    <dgm:pt modelId="{5A4AC1E8-BC37-497E-A6F8-2260BDDE8496}" type="pres">
      <dgm:prSet presAssocID="{FC64C360-FD86-4F89-835A-930C37811C54}" presName="parentText" presStyleLbl="node1" presStyleIdx="1" presStyleCnt="2" custLinFactNeighborY="-6991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3EC2711-B8D4-4068-9313-46A1DD48DFE4}" srcId="{D7FF1C02-574A-4D5A-9DB1-5702393A1312}" destId="{FC64C360-FD86-4F89-835A-930C37811C54}" srcOrd="1" destOrd="0" parTransId="{30422D7B-1D86-4386-AFA6-64170113C4EC}" sibTransId="{A089F408-1513-40C3-B87F-805C4E0767C4}"/>
    <dgm:cxn modelId="{B6D64C19-F28E-4849-9FD1-993D5F248310}" type="presOf" srcId="{F72AE7A9-A593-4D0D-A685-F6645F4959D4}" destId="{E2E265BD-3A54-4D8D-A3CE-374E5B877553}" srcOrd="0" destOrd="0" presId="urn:microsoft.com/office/officeart/2005/8/layout/vList2"/>
    <dgm:cxn modelId="{F95EDDF9-CFA5-4E60-856E-953A6A95EE95}" type="presOf" srcId="{FC64C360-FD86-4F89-835A-930C37811C54}" destId="{5A4AC1E8-BC37-497E-A6F8-2260BDDE8496}" srcOrd="0" destOrd="0" presId="urn:microsoft.com/office/officeart/2005/8/layout/vList2"/>
    <dgm:cxn modelId="{288CDC6A-A1C3-4697-8202-9BF50DA2C094}" type="presOf" srcId="{D7FF1C02-574A-4D5A-9DB1-5702393A1312}" destId="{A52AC043-233C-4164-A400-88C2ACCCB01D}" srcOrd="0" destOrd="0" presId="urn:microsoft.com/office/officeart/2005/8/layout/vList2"/>
    <dgm:cxn modelId="{03870465-4D35-40D6-9161-55D5C9BED98E}" srcId="{D7FF1C02-574A-4D5A-9DB1-5702393A1312}" destId="{F72AE7A9-A593-4D0D-A685-F6645F4959D4}" srcOrd="0" destOrd="0" parTransId="{6BFD0A00-9CD4-4CF3-BD09-EF672B24C2C2}" sibTransId="{11228E36-81F7-4729-BC72-60CEB1B1F080}"/>
    <dgm:cxn modelId="{EF11EE4D-204B-47A8-BB2C-E81D5D5F598E}" type="presParOf" srcId="{A52AC043-233C-4164-A400-88C2ACCCB01D}" destId="{E2E265BD-3A54-4D8D-A3CE-374E5B877553}" srcOrd="0" destOrd="0" presId="urn:microsoft.com/office/officeart/2005/8/layout/vList2"/>
    <dgm:cxn modelId="{85214EEF-4714-42C3-9F0F-C96AFFBBA6FE}" type="presParOf" srcId="{A52AC043-233C-4164-A400-88C2ACCCB01D}" destId="{D5C9F863-9E60-4C9C-B9B0-322D7C847D2E}" srcOrd="1" destOrd="0" presId="urn:microsoft.com/office/officeart/2005/8/layout/vList2"/>
    <dgm:cxn modelId="{018C9FAB-8BD6-49C4-843C-9AFCFE89A57E}" type="presParOf" srcId="{A52AC043-233C-4164-A400-88C2ACCCB01D}" destId="{5A4AC1E8-BC37-497E-A6F8-2260BDDE8496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74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</dgm:ptLst>
  <dgm:cxnLst>
    <dgm:cxn modelId="{F819EAAF-8AE4-4C89-997A-3BF0BE265C01}" type="presOf" srcId="{535198FA-1CD5-4CD7-892B-0AFAE5FAC363}" destId="{7328831C-A7AC-48C3-B011-46774979AC1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75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</dgm:ptLst>
  <dgm:cxnLst>
    <dgm:cxn modelId="{FADF3D5A-5FBF-4329-98A4-E42E3C8CF529}" type="presOf" srcId="{535198FA-1CD5-4CD7-892B-0AFAE5FAC363}" destId="{7328831C-A7AC-48C3-B011-46774979AC1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76.xml><?xml version="1.0" encoding="utf-8"?>
<dgm:dataModel xmlns:dgm="http://schemas.openxmlformats.org/drawingml/2006/diagram" xmlns:a="http://schemas.openxmlformats.org/drawingml/2006/main">
  <dgm:ptLst>
    <dgm:pt modelId="{AE857EA0-F71C-4014-9CF1-F2F8F3B3FF6E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836A19FF-F867-4F68-A64A-F51804778A82}">
      <dgm:prSet custT="1"/>
      <dgm:spPr>
        <a:solidFill>
          <a:srgbClr val="BFCBD8">
            <a:alpha val="50000"/>
          </a:srgbClr>
        </a:solidFill>
      </dgm:spPr>
      <dgm:t>
        <a:bodyPr/>
        <a:lstStyle/>
        <a:p>
          <a:pPr rtl="0"/>
          <a:r>
            <a:rPr lang="de-DE" sz="1000" dirty="0" smtClean="0"/>
            <a:t>Zusatz-</a:t>
          </a:r>
          <a:r>
            <a:rPr lang="de-DE" sz="1000" dirty="0" err="1" smtClean="0"/>
            <a:t>qualifi</a:t>
          </a:r>
          <a:r>
            <a:rPr lang="de-DE" sz="1000" dirty="0" smtClean="0"/>
            <a:t>-kation</a:t>
          </a:r>
          <a:endParaRPr lang="de-DE" sz="700" dirty="0"/>
        </a:p>
      </dgm:t>
    </dgm:pt>
    <dgm:pt modelId="{F7E87D7A-F427-49AC-B135-31DB6CCC2B1E}" type="parTrans" cxnId="{884FB776-CCC5-4138-98F9-D0A0C053E525}">
      <dgm:prSet/>
      <dgm:spPr/>
      <dgm:t>
        <a:bodyPr/>
        <a:lstStyle/>
        <a:p>
          <a:endParaRPr lang="de-DE"/>
        </a:p>
      </dgm:t>
    </dgm:pt>
    <dgm:pt modelId="{B7A67D09-888A-474E-9A27-69FD4920665D}" type="sibTrans" cxnId="{884FB776-CCC5-4138-98F9-D0A0C053E525}">
      <dgm:prSet/>
      <dgm:spPr/>
      <dgm:t>
        <a:bodyPr/>
        <a:lstStyle/>
        <a:p>
          <a:endParaRPr lang="de-DE"/>
        </a:p>
      </dgm:t>
    </dgm:pt>
    <dgm:pt modelId="{19E7E50D-A2FA-4E78-9C01-DED9CB7DFEB6}" type="pres">
      <dgm:prSet presAssocID="{AE857EA0-F71C-4014-9CF1-F2F8F3B3FF6E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A4A40A5F-5DF3-4BB4-B72F-37E74D681AF5}" type="pres">
      <dgm:prSet presAssocID="{836A19FF-F867-4F68-A64A-F51804778A82}" presName="circ1TxSh" presStyleLbl="vennNode1" presStyleIdx="0" presStyleCnt="1" custLinFactNeighborX="0" custLinFactNeighborY="-15552"/>
      <dgm:spPr/>
      <dgm:t>
        <a:bodyPr/>
        <a:lstStyle/>
        <a:p>
          <a:endParaRPr lang="de-DE"/>
        </a:p>
      </dgm:t>
    </dgm:pt>
  </dgm:ptLst>
  <dgm:cxnLst>
    <dgm:cxn modelId="{884FB776-CCC5-4138-98F9-D0A0C053E525}" srcId="{AE857EA0-F71C-4014-9CF1-F2F8F3B3FF6E}" destId="{836A19FF-F867-4F68-A64A-F51804778A82}" srcOrd="0" destOrd="0" parTransId="{F7E87D7A-F427-49AC-B135-31DB6CCC2B1E}" sibTransId="{B7A67D09-888A-474E-9A27-69FD4920665D}"/>
    <dgm:cxn modelId="{41428BA0-0417-4C3D-952A-AB9721508692}" type="presOf" srcId="{AE857EA0-F71C-4014-9CF1-F2F8F3B3FF6E}" destId="{19E7E50D-A2FA-4E78-9C01-DED9CB7DFEB6}" srcOrd="0" destOrd="0" presId="urn:microsoft.com/office/officeart/2005/8/layout/venn1"/>
    <dgm:cxn modelId="{8692121E-A0E5-42BC-A727-F3FAB7408176}" type="presOf" srcId="{836A19FF-F867-4F68-A64A-F51804778A82}" destId="{A4A40A5F-5DF3-4BB4-B72F-37E74D681AF5}" srcOrd="0" destOrd="0" presId="urn:microsoft.com/office/officeart/2005/8/layout/venn1"/>
    <dgm:cxn modelId="{29BFFE2D-1555-423A-AA16-4B197C5FDF84}" type="presParOf" srcId="{19E7E50D-A2FA-4E78-9C01-DED9CB7DFEB6}" destId="{A4A40A5F-5DF3-4BB4-B72F-37E74D681AF5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77.xml><?xml version="1.0" encoding="utf-8"?>
<dgm:dataModel xmlns:dgm="http://schemas.openxmlformats.org/drawingml/2006/diagram" xmlns:a="http://schemas.openxmlformats.org/drawingml/2006/main">
  <dgm:ptLst>
    <dgm:pt modelId="{398DC55C-32BD-48BF-AC05-2B91848F5081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BFD0495B-10E4-4212-BD0A-E8EF88684344}">
      <dgm:prSet custT="1"/>
      <dgm:spPr>
        <a:solidFill>
          <a:srgbClr val="A5580A"/>
        </a:solidFill>
      </dgm:spPr>
      <dgm:t>
        <a:bodyPr/>
        <a:lstStyle/>
        <a:p>
          <a:pPr rtl="0"/>
          <a:r>
            <a:rPr lang="de-DE" sz="1000" dirty="0" smtClean="0"/>
            <a:t>Duale</a:t>
          </a:r>
          <a:r>
            <a:rPr lang="de-DE" sz="800" dirty="0" smtClean="0"/>
            <a:t> </a:t>
          </a:r>
          <a:br>
            <a:rPr lang="de-DE" sz="800" dirty="0" smtClean="0"/>
          </a:br>
          <a:r>
            <a:rPr lang="de-DE" sz="1000" dirty="0" smtClean="0"/>
            <a:t>Berufsausbildung</a:t>
          </a:r>
          <a:endParaRPr lang="de-DE" sz="800" dirty="0"/>
        </a:p>
      </dgm:t>
    </dgm:pt>
    <dgm:pt modelId="{0056726B-FB08-4A8D-84AC-BF8E25203169}" type="sibTrans" cxnId="{55B36483-4444-4560-A460-A0E6E45372BD}">
      <dgm:prSet/>
      <dgm:spPr/>
      <dgm:t>
        <a:bodyPr/>
        <a:lstStyle/>
        <a:p>
          <a:endParaRPr lang="de-DE"/>
        </a:p>
      </dgm:t>
    </dgm:pt>
    <dgm:pt modelId="{8B3FF2C6-3772-4145-A788-4D60289B2DE3}" type="parTrans" cxnId="{55B36483-4444-4560-A460-A0E6E45372BD}">
      <dgm:prSet/>
      <dgm:spPr/>
      <dgm:t>
        <a:bodyPr/>
        <a:lstStyle/>
        <a:p>
          <a:endParaRPr lang="de-DE"/>
        </a:p>
      </dgm:t>
    </dgm:pt>
    <dgm:pt modelId="{28F231C3-2456-42F6-B9CA-1E49E7E55EE8}" type="pres">
      <dgm:prSet presAssocID="{398DC55C-32BD-48BF-AC05-2B91848F5081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9BAC0CE8-7B20-46B2-9C02-3AFA3351B45C}" type="pres">
      <dgm:prSet presAssocID="{BFD0495B-10E4-4212-BD0A-E8EF88684344}" presName="root" presStyleCnt="0"/>
      <dgm:spPr/>
    </dgm:pt>
    <dgm:pt modelId="{7426B126-3966-4123-8FCA-85145F0AE8C3}" type="pres">
      <dgm:prSet presAssocID="{BFD0495B-10E4-4212-BD0A-E8EF88684344}" presName="rootComposite" presStyleCnt="0"/>
      <dgm:spPr/>
    </dgm:pt>
    <dgm:pt modelId="{00E087F8-C6A9-411A-AF39-543ACB05D6EF}" type="pres">
      <dgm:prSet presAssocID="{BFD0495B-10E4-4212-BD0A-E8EF88684344}" presName="rootText" presStyleLbl="node1" presStyleIdx="0" presStyleCnt="1" custScaleX="128095" custScaleY="100121" custLinFactNeighborX="-4184" custLinFactNeighborY="55"/>
      <dgm:spPr/>
      <dgm:t>
        <a:bodyPr/>
        <a:lstStyle/>
        <a:p>
          <a:endParaRPr lang="de-DE"/>
        </a:p>
      </dgm:t>
    </dgm:pt>
    <dgm:pt modelId="{608EF3DC-38B8-407C-9EE3-F06F34839975}" type="pres">
      <dgm:prSet presAssocID="{BFD0495B-10E4-4212-BD0A-E8EF88684344}" presName="rootConnector" presStyleLbl="node1" presStyleIdx="0" presStyleCnt="1"/>
      <dgm:spPr/>
      <dgm:t>
        <a:bodyPr/>
        <a:lstStyle/>
        <a:p>
          <a:endParaRPr lang="de-DE"/>
        </a:p>
      </dgm:t>
    </dgm:pt>
    <dgm:pt modelId="{124606A9-AADB-47CC-A55F-34A3A4ECAC65}" type="pres">
      <dgm:prSet presAssocID="{BFD0495B-10E4-4212-BD0A-E8EF88684344}" presName="childShape" presStyleCnt="0"/>
      <dgm:spPr/>
    </dgm:pt>
  </dgm:ptLst>
  <dgm:cxnLst>
    <dgm:cxn modelId="{E919E5EC-44D1-4CDE-85F6-B68890CEC6F9}" type="presOf" srcId="{BFD0495B-10E4-4212-BD0A-E8EF88684344}" destId="{608EF3DC-38B8-407C-9EE3-F06F34839975}" srcOrd="1" destOrd="0" presId="urn:microsoft.com/office/officeart/2005/8/layout/hierarchy3"/>
    <dgm:cxn modelId="{55B36483-4444-4560-A460-A0E6E45372BD}" srcId="{398DC55C-32BD-48BF-AC05-2B91848F5081}" destId="{BFD0495B-10E4-4212-BD0A-E8EF88684344}" srcOrd="0" destOrd="0" parTransId="{8B3FF2C6-3772-4145-A788-4D60289B2DE3}" sibTransId="{0056726B-FB08-4A8D-84AC-BF8E25203169}"/>
    <dgm:cxn modelId="{38ED6197-9C17-4311-BB53-9571607E7ACE}" type="presOf" srcId="{398DC55C-32BD-48BF-AC05-2B91848F5081}" destId="{28F231C3-2456-42F6-B9CA-1E49E7E55EE8}" srcOrd="0" destOrd="0" presId="urn:microsoft.com/office/officeart/2005/8/layout/hierarchy3"/>
    <dgm:cxn modelId="{36C03991-5752-4555-89E7-33DE61D14ADE}" type="presOf" srcId="{BFD0495B-10E4-4212-BD0A-E8EF88684344}" destId="{00E087F8-C6A9-411A-AF39-543ACB05D6EF}" srcOrd="0" destOrd="0" presId="urn:microsoft.com/office/officeart/2005/8/layout/hierarchy3"/>
    <dgm:cxn modelId="{3AC1C2E1-6E19-4741-9E10-521D6EAD710B}" type="presParOf" srcId="{28F231C3-2456-42F6-B9CA-1E49E7E55EE8}" destId="{9BAC0CE8-7B20-46B2-9C02-3AFA3351B45C}" srcOrd="0" destOrd="0" presId="urn:microsoft.com/office/officeart/2005/8/layout/hierarchy3"/>
    <dgm:cxn modelId="{2552B5C0-3FCB-4082-A481-9654A4C5C867}" type="presParOf" srcId="{9BAC0CE8-7B20-46B2-9C02-3AFA3351B45C}" destId="{7426B126-3966-4123-8FCA-85145F0AE8C3}" srcOrd="0" destOrd="0" presId="urn:microsoft.com/office/officeart/2005/8/layout/hierarchy3"/>
    <dgm:cxn modelId="{24BF7CCF-C4D4-44E5-81F8-0B8D061E08B3}" type="presParOf" srcId="{7426B126-3966-4123-8FCA-85145F0AE8C3}" destId="{00E087F8-C6A9-411A-AF39-543ACB05D6EF}" srcOrd="0" destOrd="0" presId="urn:microsoft.com/office/officeart/2005/8/layout/hierarchy3"/>
    <dgm:cxn modelId="{A73A9775-AA70-4DDB-BAE3-EF8F5F3FC866}" type="presParOf" srcId="{7426B126-3966-4123-8FCA-85145F0AE8C3}" destId="{608EF3DC-38B8-407C-9EE3-F06F34839975}" srcOrd="1" destOrd="0" presId="urn:microsoft.com/office/officeart/2005/8/layout/hierarchy3"/>
    <dgm:cxn modelId="{C3CCB7E2-A9E5-45BE-BDEA-971081E2F315}" type="presParOf" srcId="{9BAC0CE8-7B20-46B2-9C02-3AFA3351B45C}" destId="{124606A9-AADB-47CC-A55F-34A3A4ECAC65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78.xml><?xml version="1.0" encoding="utf-8"?>
<dgm:dataModel xmlns:dgm="http://schemas.openxmlformats.org/drawingml/2006/diagram" xmlns:a="http://schemas.openxmlformats.org/drawingml/2006/main">
  <dgm:ptLst>
    <dgm:pt modelId="{D1E5945C-1491-41FF-AAAB-BC9501AE5BD0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CB4494F6-899C-43AD-99CE-8DB844B58335}">
      <dgm:prSet custT="1"/>
      <dgm:spPr>
        <a:solidFill>
          <a:schemeClr val="bg2">
            <a:alpha val="90000"/>
          </a:schemeClr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pPr rtl="0"/>
          <a:r>
            <a:rPr lang="de-DE" sz="1100" b="1" dirty="0" smtClean="0"/>
            <a:t>Berufsschulabschluss</a:t>
          </a:r>
          <a:endParaRPr lang="de-DE" sz="1100" b="1" dirty="0"/>
        </a:p>
      </dgm:t>
    </dgm:pt>
    <dgm:pt modelId="{A5F45C23-5BBE-475D-91BD-46847D034A1E}" type="parTrans" cxnId="{CB5DB10D-E82F-433F-B116-0064D4F34B29}">
      <dgm:prSet/>
      <dgm:spPr/>
      <dgm:t>
        <a:bodyPr/>
        <a:lstStyle/>
        <a:p>
          <a:endParaRPr lang="de-DE"/>
        </a:p>
      </dgm:t>
    </dgm:pt>
    <dgm:pt modelId="{B1C04CE8-813F-4F53-8566-A85A8D9D58EB}" type="sibTrans" cxnId="{CB5DB10D-E82F-433F-B116-0064D4F34B29}">
      <dgm:prSet/>
      <dgm:spPr/>
      <dgm:t>
        <a:bodyPr/>
        <a:lstStyle/>
        <a:p>
          <a:endParaRPr lang="de-DE"/>
        </a:p>
      </dgm:t>
    </dgm:pt>
    <dgm:pt modelId="{F56CE141-648F-4E4B-BEFD-79B453403604}" type="pres">
      <dgm:prSet presAssocID="{D1E5945C-1491-41FF-AAAB-BC9501AE5BD0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98B604F-A667-4808-9261-262E329E7D6B}" type="pres">
      <dgm:prSet presAssocID="{CB4494F6-899C-43AD-99CE-8DB844B58335}" presName="circle1" presStyleLbl="node1" presStyleIdx="0" presStyleCnt="1"/>
      <dgm:spPr>
        <a:solidFill>
          <a:schemeClr val="bg1"/>
        </a:solidFill>
      </dgm:spPr>
    </dgm:pt>
    <dgm:pt modelId="{6B01883C-CD55-4485-9D85-A17D587E5E0B}" type="pres">
      <dgm:prSet presAssocID="{CB4494F6-899C-43AD-99CE-8DB844B58335}" presName="space" presStyleCnt="0"/>
      <dgm:spPr/>
    </dgm:pt>
    <dgm:pt modelId="{75C710D2-2E76-4AC8-8AC8-748BDFD3E6C3}" type="pres">
      <dgm:prSet presAssocID="{CB4494F6-899C-43AD-99CE-8DB844B58335}" presName="rect1" presStyleLbl="alignAcc1" presStyleIdx="0" presStyleCnt="1" custScaleX="109190" custLinFactNeighborX="-1847"/>
      <dgm:spPr/>
      <dgm:t>
        <a:bodyPr/>
        <a:lstStyle/>
        <a:p>
          <a:endParaRPr lang="de-DE"/>
        </a:p>
      </dgm:t>
    </dgm:pt>
    <dgm:pt modelId="{F55100FF-B12F-452A-9C42-0E444D0ED847}" type="pres">
      <dgm:prSet presAssocID="{CB4494F6-899C-43AD-99CE-8DB844B58335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91BF2D5-A215-4C6A-994F-472BA055F387}" type="presOf" srcId="{CB4494F6-899C-43AD-99CE-8DB844B58335}" destId="{F55100FF-B12F-452A-9C42-0E444D0ED847}" srcOrd="1" destOrd="0" presId="urn:microsoft.com/office/officeart/2005/8/layout/target3"/>
    <dgm:cxn modelId="{A40B91F5-C4AD-4063-A7D2-3350033574A8}" type="presOf" srcId="{D1E5945C-1491-41FF-AAAB-BC9501AE5BD0}" destId="{F56CE141-648F-4E4B-BEFD-79B453403604}" srcOrd="0" destOrd="0" presId="urn:microsoft.com/office/officeart/2005/8/layout/target3"/>
    <dgm:cxn modelId="{CB5DB10D-E82F-433F-B116-0064D4F34B29}" srcId="{D1E5945C-1491-41FF-AAAB-BC9501AE5BD0}" destId="{CB4494F6-899C-43AD-99CE-8DB844B58335}" srcOrd="0" destOrd="0" parTransId="{A5F45C23-5BBE-475D-91BD-46847D034A1E}" sibTransId="{B1C04CE8-813F-4F53-8566-A85A8D9D58EB}"/>
    <dgm:cxn modelId="{43697A5E-6F7A-48B1-AE28-97A1967E1F0F}" type="presOf" srcId="{CB4494F6-899C-43AD-99CE-8DB844B58335}" destId="{75C710D2-2E76-4AC8-8AC8-748BDFD3E6C3}" srcOrd="0" destOrd="0" presId="urn:microsoft.com/office/officeart/2005/8/layout/target3"/>
    <dgm:cxn modelId="{8E29CA2A-E3B4-45C8-9062-ECF04CE4FB99}" type="presParOf" srcId="{F56CE141-648F-4E4B-BEFD-79B453403604}" destId="{E98B604F-A667-4808-9261-262E329E7D6B}" srcOrd="0" destOrd="0" presId="urn:microsoft.com/office/officeart/2005/8/layout/target3"/>
    <dgm:cxn modelId="{9E659394-C8FD-45C6-A509-B734200E5947}" type="presParOf" srcId="{F56CE141-648F-4E4B-BEFD-79B453403604}" destId="{6B01883C-CD55-4485-9D85-A17D587E5E0B}" srcOrd="1" destOrd="0" presId="urn:microsoft.com/office/officeart/2005/8/layout/target3"/>
    <dgm:cxn modelId="{C6DD6A6F-C1BF-4C9E-92FA-0EE97AE3623D}" type="presParOf" srcId="{F56CE141-648F-4E4B-BEFD-79B453403604}" destId="{75C710D2-2E76-4AC8-8AC8-748BDFD3E6C3}" srcOrd="2" destOrd="0" presId="urn:microsoft.com/office/officeart/2005/8/layout/target3"/>
    <dgm:cxn modelId="{FF7C5D8A-2526-43E3-A65E-23D82B907838}" type="presParOf" srcId="{F56CE141-648F-4E4B-BEFD-79B453403604}" destId="{F55100FF-B12F-452A-9C42-0E444D0ED847}" srcOrd="3" destOrd="0" presId="urn:microsoft.com/office/officeart/2005/8/layout/target3"/>
  </dgm:cxnLst>
  <dgm:bg>
    <a:noFill/>
  </dgm:bg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79.xml><?xml version="1.0" encoding="utf-8"?>
<dgm:dataModel xmlns:dgm="http://schemas.openxmlformats.org/drawingml/2006/diagram" xmlns:a="http://schemas.openxmlformats.org/drawingml/2006/main">
  <dgm:ptLst>
    <dgm:pt modelId="{3D916B86-AC28-4626-B963-112384C13F89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E8C66CE-6AA3-4D38-9A65-FFAF1AC2E9FE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pPr rtl="0"/>
          <a:r>
            <a:rPr lang="de-DE" dirty="0" smtClean="0"/>
            <a:t>Schulische </a:t>
          </a:r>
          <a:br>
            <a:rPr lang="de-DE" dirty="0" smtClean="0"/>
          </a:br>
          <a:r>
            <a:rPr lang="de-DE" dirty="0" smtClean="0"/>
            <a:t>Berufsausbildung</a:t>
          </a:r>
          <a:endParaRPr lang="de-DE" dirty="0"/>
        </a:p>
      </dgm:t>
    </dgm:pt>
    <dgm:pt modelId="{34CB5C3F-D83F-4A8E-BD16-AD79BEB2EC26}" type="sibTrans" cxnId="{E391156C-47B6-4D4F-8BD3-3E4D05B58B31}">
      <dgm:prSet/>
      <dgm:spPr/>
      <dgm:t>
        <a:bodyPr/>
        <a:lstStyle/>
        <a:p>
          <a:endParaRPr lang="de-DE"/>
        </a:p>
      </dgm:t>
    </dgm:pt>
    <dgm:pt modelId="{923261C0-675A-479B-8BE1-42C8261CC987}" type="parTrans" cxnId="{E391156C-47B6-4D4F-8BD3-3E4D05B58B31}">
      <dgm:prSet/>
      <dgm:spPr/>
      <dgm:t>
        <a:bodyPr/>
        <a:lstStyle/>
        <a:p>
          <a:endParaRPr lang="de-DE"/>
        </a:p>
      </dgm:t>
    </dgm:pt>
    <dgm:pt modelId="{3343C4BE-614E-46C3-A541-2CBF47C0A3E3}" type="pres">
      <dgm:prSet presAssocID="{3D916B86-AC28-4626-B963-112384C13F89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4CCD9CB7-9BCF-4CD5-9EE6-9BA27943B212}" type="pres">
      <dgm:prSet presAssocID="{4E8C66CE-6AA3-4D38-9A65-FFAF1AC2E9FE}" presName="root" presStyleCnt="0"/>
      <dgm:spPr/>
    </dgm:pt>
    <dgm:pt modelId="{40F657D9-167D-46C3-A68F-056EBD13938C}" type="pres">
      <dgm:prSet presAssocID="{4E8C66CE-6AA3-4D38-9A65-FFAF1AC2E9FE}" presName="rootComposite" presStyleCnt="0"/>
      <dgm:spPr/>
    </dgm:pt>
    <dgm:pt modelId="{CC92030F-778E-4954-B125-2224A0BF0D7D}" type="pres">
      <dgm:prSet presAssocID="{4E8C66CE-6AA3-4D38-9A65-FFAF1AC2E9FE}" presName="rootText" presStyleLbl="node1" presStyleIdx="0" presStyleCnt="1" custScaleX="117880"/>
      <dgm:spPr/>
      <dgm:t>
        <a:bodyPr/>
        <a:lstStyle/>
        <a:p>
          <a:endParaRPr lang="de-DE"/>
        </a:p>
      </dgm:t>
    </dgm:pt>
    <dgm:pt modelId="{CC875FC6-1CC8-4290-89E7-1F5553B16EF1}" type="pres">
      <dgm:prSet presAssocID="{4E8C66CE-6AA3-4D38-9A65-FFAF1AC2E9FE}" presName="rootConnector" presStyleLbl="node1" presStyleIdx="0" presStyleCnt="1"/>
      <dgm:spPr/>
      <dgm:t>
        <a:bodyPr/>
        <a:lstStyle/>
        <a:p>
          <a:endParaRPr lang="de-DE"/>
        </a:p>
      </dgm:t>
    </dgm:pt>
    <dgm:pt modelId="{018FB409-A880-41D2-806A-0200C4DC1FF1}" type="pres">
      <dgm:prSet presAssocID="{4E8C66CE-6AA3-4D38-9A65-FFAF1AC2E9FE}" presName="childShape" presStyleCnt="0"/>
      <dgm:spPr/>
    </dgm:pt>
  </dgm:ptLst>
  <dgm:cxnLst>
    <dgm:cxn modelId="{3BE8BF32-5B6C-46ED-92C4-DB19477763E9}" type="presOf" srcId="{3D916B86-AC28-4626-B963-112384C13F89}" destId="{3343C4BE-614E-46C3-A541-2CBF47C0A3E3}" srcOrd="0" destOrd="0" presId="urn:microsoft.com/office/officeart/2005/8/layout/hierarchy3"/>
    <dgm:cxn modelId="{E391156C-47B6-4D4F-8BD3-3E4D05B58B31}" srcId="{3D916B86-AC28-4626-B963-112384C13F89}" destId="{4E8C66CE-6AA3-4D38-9A65-FFAF1AC2E9FE}" srcOrd="0" destOrd="0" parTransId="{923261C0-675A-479B-8BE1-42C8261CC987}" sibTransId="{34CB5C3F-D83F-4A8E-BD16-AD79BEB2EC26}"/>
    <dgm:cxn modelId="{65470529-95F0-41E7-9189-012F25A3E3EB}" type="presOf" srcId="{4E8C66CE-6AA3-4D38-9A65-FFAF1AC2E9FE}" destId="{CC92030F-778E-4954-B125-2224A0BF0D7D}" srcOrd="0" destOrd="0" presId="urn:microsoft.com/office/officeart/2005/8/layout/hierarchy3"/>
    <dgm:cxn modelId="{117BCA29-CBC7-48DC-9810-AAADC8667651}" type="presOf" srcId="{4E8C66CE-6AA3-4D38-9A65-FFAF1AC2E9FE}" destId="{CC875FC6-1CC8-4290-89E7-1F5553B16EF1}" srcOrd="1" destOrd="0" presId="urn:microsoft.com/office/officeart/2005/8/layout/hierarchy3"/>
    <dgm:cxn modelId="{EC5F95D3-7C1B-4C95-8E3B-725823B0A628}" type="presParOf" srcId="{3343C4BE-614E-46C3-A541-2CBF47C0A3E3}" destId="{4CCD9CB7-9BCF-4CD5-9EE6-9BA27943B212}" srcOrd="0" destOrd="0" presId="urn:microsoft.com/office/officeart/2005/8/layout/hierarchy3"/>
    <dgm:cxn modelId="{5C5B568D-97F7-477D-AAB3-29D59699C7A9}" type="presParOf" srcId="{4CCD9CB7-9BCF-4CD5-9EE6-9BA27943B212}" destId="{40F657D9-167D-46C3-A68F-056EBD13938C}" srcOrd="0" destOrd="0" presId="urn:microsoft.com/office/officeart/2005/8/layout/hierarchy3"/>
    <dgm:cxn modelId="{0586567C-6074-4D30-BFA0-52B1C44FE598}" type="presParOf" srcId="{40F657D9-167D-46C3-A68F-056EBD13938C}" destId="{CC92030F-778E-4954-B125-2224A0BF0D7D}" srcOrd="0" destOrd="0" presId="urn:microsoft.com/office/officeart/2005/8/layout/hierarchy3"/>
    <dgm:cxn modelId="{9D101F54-B1BB-415C-BDFB-E35457A1D412}" type="presParOf" srcId="{40F657D9-167D-46C3-A68F-056EBD13938C}" destId="{CC875FC6-1CC8-4290-89E7-1F5553B16EF1}" srcOrd="1" destOrd="0" presId="urn:microsoft.com/office/officeart/2005/8/layout/hierarchy3"/>
    <dgm:cxn modelId="{40146375-5BC6-4F49-8272-D8ADD7DBCD68}" type="presParOf" srcId="{4CCD9CB7-9BCF-4CD5-9EE6-9BA27943B212}" destId="{018FB409-A880-41D2-806A-0200C4DC1FF1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3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simple3" qsCatId="simple" csTypeId="urn:microsoft.com/office/officeart/2005/8/colors/accent6_5" csCatId="accent6" phldr="1"/>
      <dgm:spPr/>
      <dgm:t>
        <a:bodyPr/>
        <a:lstStyle/>
        <a:p>
          <a:endParaRPr lang="de-DE"/>
        </a:p>
      </dgm:t>
    </dgm:pt>
    <dgm:pt modelId="{F168D0D7-DD15-4F69-8DEA-3E59459CE995}">
      <dgm:prSet custT="1"/>
      <dgm:spPr>
        <a:solidFill>
          <a:srgbClr val="FF9933"/>
        </a:solidFill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hochwertigen und leistungs-orientierten Fachunterricht</a:t>
          </a: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0000" custScaleY="197358" custLinFactNeighborX="-2088" custLinFactNeighborY="-6445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AA2D4FE-5084-4B33-B33B-EB9A1F988051}" type="presOf" srcId="{535198FA-1CD5-4CD7-892B-0AFAE5FAC363}" destId="{7328831C-A7AC-48C3-B011-46774979AC11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8949329F-ABFF-495F-92FD-6007802624AC}" type="presOf" srcId="{F168D0D7-DD15-4F69-8DEA-3E59459CE995}" destId="{5C44AA69-D049-4B71-AE2C-A2059F01FF6F}" srcOrd="0" destOrd="0" presId="urn:microsoft.com/office/officeart/2005/8/layout/vList2"/>
    <dgm:cxn modelId="{3F93B772-5E3C-43A0-BC16-473F4B80ED6F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80.xml><?xml version="1.0" encoding="utf-8"?>
<dgm:dataModel xmlns:dgm="http://schemas.openxmlformats.org/drawingml/2006/diagram" xmlns:a="http://schemas.openxmlformats.org/drawingml/2006/main">
  <dgm:ptLst>
    <dgm:pt modelId="{0D76BCED-BD16-4094-B9AF-5A98527970DF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F9C861C-0C73-4DF0-84C2-09712F215634}">
      <dgm:prSet custT="1"/>
      <dgm:spPr>
        <a:solidFill>
          <a:schemeClr val="bg1">
            <a:lumMod val="95000"/>
          </a:schemeClr>
        </a:solidFill>
        <a:ln>
          <a:solidFill>
            <a:srgbClr val="C00000"/>
          </a:solidFill>
        </a:ln>
      </dgm:spPr>
      <dgm:t>
        <a:bodyPr/>
        <a:lstStyle/>
        <a:p>
          <a:pPr rtl="0"/>
          <a:r>
            <a:rPr lang="de-DE" sz="1100" b="1" dirty="0" smtClean="0"/>
            <a:t>Fachhochschulreife</a:t>
          </a:r>
          <a:endParaRPr lang="de-DE" sz="900" b="1" dirty="0"/>
        </a:p>
      </dgm:t>
    </dgm:pt>
    <dgm:pt modelId="{2A09FFEC-6A11-4E0A-B47F-D54BFD9CEF0C}" type="parTrans" cxnId="{6EBFE014-0B86-483D-8247-E1AFD867BFED}">
      <dgm:prSet/>
      <dgm:spPr/>
      <dgm:t>
        <a:bodyPr/>
        <a:lstStyle/>
        <a:p>
          <a:endParaRPr lang="de-DE"/>
        </a:p>
      </dgm:t>
    </dgm:pt>
    <dgm:pt modelId="{92A9D6FB-3AA8-4019-8AA0-C2453133602E}" type="sibTrans" cxnId="{6EBFE014-0B86-483D-8247-E1AFD867BFED}">
      <dgm:prSet/>
      <dgm:spPr/>
      <dgm:t>
        <a:bodyPr/>
        <a:lstStyle/>
        <a:p>
          <a:endParaRPr lang="de-DE"/>
        </a:p>
      </dgm:t>
    </dgm:pt>
    <dgm:pt modelId="{987A5031-6E17-4BC5-8615-AA707536ECA8}" type="pres">
      <dgm:prSet presAssocID="{0D76BCED-BD16-4094-B9AF-5A98527970DF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0E9559D-DA83-4F44-84FF-CA345300BAC2}" type="pres">
      <dgm:prSet presAssocID="{4F9C861C-0C73-4DF0-84C2-09712F215634}" presName="circle1" presStyleLbl="node1" presStyleIdx="0" presStyleCnt="1"/>
      <dgm:spPr>
        <a:noFill/>
        <a:ln>
          <a:noFill/>
        </a:ln>
      </dgm:spPr>
      <dgm:t>
        <a:bodyPr/>
        <a:lstStyle/>
        <a:p>
          <a:endParaRPr lang="de-DE"/>
        </a:p>
      </dgm:t>
    </dgm:pt>
    <dgm:pt modelId="{CD0C79FD-935B-49B9-A539-7BF9126DE080}" type="pres">
      <dgm:prSet presAssocID="{4F9C861C-0C73-4DF0-84C2-09712F215634}" presName="space" presStyleCnt="0"/>
      <dgm:spPr/>
    </dgm:pt>
    <dgm:pt modelId="{1210B2C4-3FF5-400D-9B5C-13D601D6433F}" type="pres">
      <dgm:prSet presAssocID="{4F9C861C-0C73-4DF0-84C2-09712F215634}" presName="rect1" presStyleLbl="alignAcc1" presStyleIdx="0" presStyleCnt="1" custLinFactNeighborX="-6324"/>
      <dgm:spPr/>
      <dgm:t>
        <a:bodyPr/>
        <a:lstStyle/>
        <a:p>
          <a:endParaRPr lang="de-DE"/>
        </a:p>
      </dgm:t>
    </dgm:pt>
    <dgm:pt modelId="{FF076E19-A449-496A-ADF8-AC0640A76B77}" type="pres">
      <dgm:prSet presAssocID="{4F9C861C-0C73-4DF0-84C2-09712F215634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EBFE014-0B86-483D-8247-E1AFD867BFED}" srcId="{0D76BCED-BD16-4094-B9AF-5A98527970DF}" destId="{4F9C861C-0C73-4DF0-84C2-09712F215634}" srcOrd="0" destOrd="0" parTransId="{2A09FFEC-6A11-4E0A-B47F-D54BFD9CEF0C}" sibTransId="{92A9D6FB-3AA8-4019-8AA0-C2453133602E}"/>
    <dgm:cxn modelId="{AB9A9DBF-7BB6-41EE-AAEE-0753A4206B8C}" type="presOf" srcId="{0D76BCED-BD16-4094-B9AF-5A98527970DF}" destId="{987A5031-6E17-4BC5-8615-AA707536ECA8}" srcOrd="0" destOrd="0" presId="urn:microsoft.com/office/officeart/2005/8/layout/target3"/>
    <dgm:cxn modelId="{D1D836F6-8162-45B4-A4BD-5D3986DB5497}" type="presOf" srcId="{4F9C861C-0C73-4DF0-84C2-09712F215634}" destId="{1210B2C4-3FF5-400D-9B5C-13D601D6433F}" srcOrd="0" destOrd="0" presId="urn:microsoft.com/office/officeart/2005/8/layout/target3"/>
    <dgm:cxn modelId="{48AC1493-9835-4DE5-B70F-75362A9BD0FB}" type="presOf" srcId="{4F9C861C-0C73-4DF0-84C2-09712F215634}" destId="{FF076E19-A449-496A-ADF8-AC0640A76B77}" srcOrd="1" destOrd="0" presId="urn:microsoft.com/office/officeart/2005/8/layout/target3"/>
    <dgm:cxn modelId="{E326E5F3-F3FD-461D-AEE1-D4E15D367992}" type="presParOf" srcId="{987A5031-6E17-4BC5-8615-AA707536ECA8}" destId="{30E9559D-DA83-4F44-84FF-CA345300BAC2}" srcOrd="0" destOrd="0" presId="urn:microsoft.com/office/officeart/2005/8/layout/target3"/>
    <dgm:cxn modelId="{87594FCB-2046-4491-97C5-EF5AC6ABDA3C}" type="presParOf" srcId="{987A5031-6E17-4BC5-8615-AA707536ECA8}" destId="{CD0C79FD-935B-49B9-A539-7BF9126DE080}" srcOrd="1" destOrd="0" presId="urn:microsoft.com/office/officeart/2005/8/layout/target3"/>
    <dgm:cxn modelId="{C222EC10-513A-450A-A9A2-42614CAD4F2F}" type="presParOf" srcId="{987A5031-6E17-4BC5-8615-AA707536ECA8}" destId="{1210B2C4-3FF5-400D-9B5C-13D601D6433F}" srcOrd="2" destOrd="0" presId="urn:microsoft.com/office/officeart/2005/8/layout/target3"/>
    <dgm:cxn modelId="{AAC3FB98-AC7E-482B-8E7F-922DA020E248}" type="presParOf" srcId="{987A5031-6E17-4BC5-8615-AA707536ECA8}" destId="{FF076E19-A449-496A-ADF8-AC0640A76B77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43" minVer="http://schemas.openxmlformats.org/drawingml/2006/diagram"/>
    </a:ext>
  </dgm:extLst>
</dgm:dataModel>
</file>

<file path=ppt/diagrams/data81.xml><?xml version="1.0" encoding="utf-8"?>
<dgm:dataModel xmlns:dgm="http://schemas.openxmlformats.org/drawingml/2006/diagram" xmlns:a="http://schemas.openxmlformats.org/drawingml/2006/main">
  <dgm:ptLst>
    <dgm:pt modelId="{0D76BCED-BD16-4094-B9AF-5A98527970DF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F9C861C-0C73-4DF0-84C2-09712F215634}">
      <dgm:prSet custT="1"/>
      <dgm:spPr>
        <a:solidFill>
          <a:schemeClr val="bg1">
            <a:lumMod val="95000"/>
            <a:alpha val="90000"/>
          </a:schemeClr>
        </a:solidFill>
        <a:ln>
          <a:solidFill>
            <a:srgbClr val="F4950A"/>
          </a:solidFill>
        </a:ln>
      </dgm:spPr>
      <dgm:t>
        <a:bodyPr/>
        <a:lstStyle/>
        <a:p>
          <a:pPr rtl="0"/>
          <a:r>
            <a:rPr lang="de-DE" sz="1100" b="1" dirty="0" smtClean="0"/>
            <a:t>Allgemeine Hochschulreife*</a:t>
          </a:r>
          <a:endParaRPr lang="de-DE" sz="900" b="1" dirty="0"/>
        </a:p>
      </dgm:t>
    </dgm:pt>
    <dgm:pt modelId="{2A09FFEC-6A11-4E0A-B47F-D54BFD9CEF0C}" type="parTrans" cxnId="{6EBFE014-0B86-483D-8247-E1AFD867BFED}">
      <dgm:prSet/>
      <dgm:spPr/>
      <dgm:t>
        <a:bodyPr/>
        <a:lstStyle/>
        <a:p>
          <a:endParaRPr lang="de-DE"/>
        </a:p>
      </dgm:t>
    </dgm:pt>
    <dgm:pt modelId="{92A9D6FB-3AA8-4019-8AA0-C2453133602E}" type="sibTrans" cxnId="{6EBFE014-0B86-483D-8247-E1AFD867BFED}">
      <dgm:prSet/>
      <dgm:spPr/>
      <dgm:t>
        <a:bodyPr/>
        <a:lstStyle/>
        <a:p>
          <a:endParaRPr lang="de-DE"/>
        </a:p>
      </dgm:t>
    </dgm:pt>
    <dgm:pt modelId="{987A5031-6E17-4BC5-8615-AA707536ECA8}" type="pres">
      <dgm:prSet presAssocID="{0D76BCED-BD16-4094-B9AF-5A98527970DF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0E9559D-DA83-4F44-84FF-CA345300BAC2}" type="pres">
      <dgm:prSet presAssocID="{4F9C861C-0C73-4DF0-84C2-09712F215634}" presName="circle1" presStyleLbl="node1" presStyleIdx="0" presStyleCnt="1"/>
      <dgm:spPr>
        <a:solidFill>
          <a:schemeClr val="bg1"/>
        </a:solidFill>
        <a:ln>
          <a:noFill/>
        </a:ln>
      </dgm:spPr>
    </dgm:pt>
    <dgm:pt modelId="{CD0C79FD-935B-49B9-A539-7BF9126DE080}" type="pres">
      <dgm:prSet presAssocID="{4F9C861C-0C73-4DF0-84C2-09712F215634}" presName="space" presStyleCnt="0"/>
      <dgm:spPr/>
    </dgm:pt>
    <dgm:pt modelId="{1210B2C4-3FF5-400D-9B5C-13D601D6433F}" type="pres">
      <dgm:prSet presAssocID="{4F9C861C-0C73-4DF0-84C2-09712F215634}" presName="rect1" presStyleLbl="alignAcc1" presStyleIdx="0" presStyleCnt="1" custLinFactNeighborX="-8747" custLinFactNeighborY="-4067"/>
      <dgm:spPr/>
      <dgm:t>
        <a:bodyPr/>
        <a:lstStyle/>
        <a:p>
          <a:endParaRPr lang="de-DE"/>
        </a:p>
      </dgm:t>
    </dgm:pt>
    <dgm:pt modelId="{FF076E19-A449-496A-ADF8-AC0640A76B77}" type="pres">
      <dgm:prSet presAssocID="{4F9C861C-0C73-4DF0-84C2-09712F215634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EBFE014-0B86-483D-8247-E1AFD867BFED}" srcId="{0D76BCED-BD16-4094-B9AF-5A98527970DF}" destId="{4F9C861C-0C73-4DF0-84C2-09712F215634}" srcOrd="0" destOrd="0" parTransId="{2A09FFEC-6A11-4E0A-B47F-D54BFD9CEF0C}" sibTransId="{92A9D6FB-3AA8-4019-8AA0-C2453133602E}"/>
    <dgm:cxn modelId="{190082AC-738E-4806-A53F-EC6BF086E91D}" type="presOf" srcId="{0D76BCED-BD16-4094-B9AF-5A98527970DF}" destId="{987A5031-6E17-4BC5-8615-AA707536ECA8}" srcOrd="0" destOrd="0" presId="urn:microsoft.com/office/officeart/2005/8/layout/target3"/>
    <dgm:cxn modelId="{3B878A7D-F259-421B-AAD0-D0A5BB62FC2E}" type="presOf" srcId="{4F9C861C-0C73-4DF0-84C2-09712F215634}" destId="{FF076E19-A449-496A-ADF8-AC0640A76B77}" srcOrd="1" destOrd="0" presId="urn:microsoft.com/office/officeart/2005/8/layout/target3"/>
    <dgm:cxn modelId="{D7048F32-B6DC-445C-A32B-89A1DC446F57}" type="presOf" srcId="{4F9C861C-0C73-4DF0-84C2-09712F215634}" destId="{1210B2C4-3FF5-400D-9B5C-13D601D6433F}" srcOrd="0" destOrd="0" presId="urn:microsoft.com/office/officeart/2005/8/layout/target3"/>
    <dgm:cxn modelId="{2A37520E-1BBB-41FA-BA4A-F0E5F946079B}" type="presParOf" srcId="{987A5031-6E17-4BC5-8615-AA707536ECA8}" destId="{30E9559D-DA83-4F44-84FF-CA345300BAC2}" srcOrd="0" destOrd="0" presId="urn:microsoft.com/office/officeart/2005/8/layout/target3"/>
    <dgm:cxn modelId="{66AB76BC-0272-47B9-A569-8894FAEDDF05}" type="presParOf" srcId="{987A5031-6E17-4BC5-8615-AA707536ECA8}" destId="{CD0C79FD-935B-49B9-A539-7BF9126DE080}" srcOrd="1" destOrd="0" presId="urn:microsoft.com/office/officeart/2005/8/layout/target3"/>
    <dgm:cxn modelId="{7B4E10D6-DB88-425D-99FF-4CB1256F91C5}" type="presParOf" srcId="{987A5031-6E17-4BC5-8615-AA707536ECA8}" destId="{1210B2C4-3FF5-400D-9B5C-13D601D6433F}" srcOrd="2" destOrd="0" presId="urn:microsoft.com/office/officeart/2005/8/layout/target3"/>
    <dgm:cxn modelId="{FE4B8194-9455-4160-B576-D320BB56B814}" type="presParOf" srcId="{987A5031-6E17-4BC5-8615-AA707536ECA8}" destId="{FF076E19-A449-496A-ADF8-AC0640A76B77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48" minVer="http://schemas.openxmlformats.org/drawingml/2006/diagram"/>
    </a:ext>
  </dgm:extLst>
</dgm:dataModel>
</file>

<file path=ppt/diagrams/data82.xml><?xml version="1.0" encoding="utf-8"?>
<dgm:dataModel xmlns:dgm="http://schemas.openxmlformats.org/drawingml/2006/diagram" xmlns:a="http://schemas.openxmlformats.org/drawingml/2006/main">
  <dgm:ptLst>
    <dgm:pt modelId="{D7FF1C02-574A-4D5A-9DB1-5702393A1312}" type="doc">
      <dgm:prSet loTypeId="urn:microsoft.com/office/officeart/2005/8/layout/vList2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72AE7A9-A593-4D0D-A685-F6645F4959D4}">
      <dgm:prSet/>
      <dgm:spPr>
        <a:solidFill>
          <a:srgbClr val="339933"/>
        </a:solidFill>
      </dgm:spPr>
      <dgm:t>
        <a:bodyPr/>
        <a:lstStyle/>
        <a:p>
          <a:pPr algn="ctr" rtl="0"/>
          <a:r>
            <a:rPr lang="de-DE" dirty="0" smtClean="0"/>
            <a:t>Höhere Handelsschule</a:t>
          </a:r>
          <a:endParaRPr lang="de-DE" dirty="0"/>
        </a:p>
      </dgm:t>
    </dgm:pt>
    <dgm:pt modelId="{6BFD0A00-9CD4-4CF3-BD09-EF672B24C2C2}" type="parTrans" cxnId="{03870465-4D35-40D6-9161-55D5C9BED98E}">
      <dgm:prSet/>
      <dgm:spPr/>
      <dgm:t>
        <a:bodyPr/>
        <a:lstStyle/>
        <a:p>
          <a:endParaRPr lang="de-DE"/>
        </a:p>
      </dgm:t>
    </dgm:pt>
    <dgm:pt modelId="{11228E36-81F7-4729-BC72-60CEB1B1F080}" type="sibTrans" cxnId="{03870465-4D35-40D6-9161-55D5C9BED98E}">
      <dgm:prSet/>
      <dgm:spPr/>
      <dgm:t>
        <a:bodyPr/>
        <a:lstStyle/>
        <a:p>
          <a:endParaRPr lang="de-DE"/>
        </a:p>
      </dgm:t>
    </dgm:pt>
    <dgm:pt modelId="{FC64C360-FD86-4F89-835A-930C37811C54}">
      <dgm:prSet/>
      <dgm:spPr>
        <a:solidFill>
          <a:srgbClr val="008000"/>
        </a:solidFill>
      </dgm:spPr>
      <dgm:t>
        <a:bodyPr/>
        <a:lstStyle/>
        <a:p>
          <a:pPr algn="ctr" rtl="0"/>
          <a:r>
            <a:rPr lang="de-DE" dirty="0" smtClean="0"/>
            <a:t>Höhere Technikschule</a:t>
          </a:r>
          <a:endParaRPr lang="de-DE" dirty="0"/>
        </a:p>
      </dgm:t>
    </dgm:pt>
    <dgm:pt modelId="{30422D7B-1D86-4386-AFA6-64170113C4EC}" type="parTrans" cxnId="{53EC2711-B8D4-4068-9313-46A1DD48DFE4}">
      <dgm:prSet/>
      <dgm:spPr/>
      <dgm:t>
        <a:bodyPr/>
        <a:lstStyle/>
        <a:p>
          <a:endParaRPr lang="de-DE"/>
        </a:p>
      </dgm:t>
    </dgm:pt>
    <dgm:pt modelId="{A089F408-1513-40C3-B87F-805C4E0767C4}" type="sibTrans" cxnId="{53EC2711-B8D4-4068-9313-46A1DD48DFE4}">
      <dgm:prSet/>
      <dgm:spPr/>
      <dgm:t>
        <a:bodyPr/>
        <a:lstStyle/>
        <a:p>
          <a:endParaRPr lang="de-DE"/>
        </a:p>
      </dgm:t>
    </dgm:pt>
    <dgm:pt modelId="{A52AC043-233C-4164-A400-88C2ACCCB01D}" type="pres">
      <dgm:prSet presAssocID="{D7FF1C02-574A-4D5A-9DB1-5702393A131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E265BD-3A54-4D8D-A3CE-374E5B877553}" type="pres">
      <dgm:prSet presAssocID="{F72AE7A9-A593-4D0D-A685-F6645F4959D4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5C9F863-9E60-4C9C-B9B0-322D7C847D2E}" type="pres">
      <dgm:prSet presAssocID="{11228E36-81F7-4729-BC72-60CEB1B1F080}" presName="spacer" presStyleCnt="0"/>
      <dgm:spPr/>
    </dgm:pt>
    <dgm:pt modelId="{5A4AC1E8-BC37-497E-A6F8-2260BDDE8496}" type="pres">
      <dgm:prSet presAssocID="{FC64C360-FD86-4F89-835A-930C37811C54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3EC2711-B8D4-4068-9313-46A1DD48DFE4}" srcId="{D7FF1C02-574A-4D5A-9DB1-5702393A1312}" destId="{FC64C360-FD86-4F89-835A-930C37811C54}" srcOrd="1" destOrd="0" parTransId="{30422D7B-1D86-4386-AFA6-64170113C4EC}" sibTransId="{A089F408-1513-40C3-B87F-805C4E0767C4}"/>
    <dgm:cxn modelId="{652DA84F-0067-4244-BA65-BA0E2473243F}" type="presOf" srcId="{F72AE7A9-A593-4D0D-A685-F6645F4959D4}" destId="{E2E265BD-3A54-4D8D-A3CE-374E5B877553}" srcOrd="0" destOrd="0" presId="urn:microsoft.com/office/officeart/2005/8/layout/vList2"/>
    <dgm:cxn modelId="{60CD7033-9474-442C-9563-6C2CD6CC40A4}" type="presOf" srcId="{D7FF1C02-574A-4D5A-9DB1-5702393A1312}" destId="{A52AC043-233C-4164-A400-88C2ACCCB01D}" srcOrd="0" destOrd="0" presId="urn:microsoft.com/office/officeart/2005/8/layout/vList2"/>
    <dgm:cxn modelId="{03870465-4D35-40D6-9161-55D5C9BED98E}" srcId="{D7FF1C02-574A-4D5A-9DB1-5702393A1312}" destId="{F72AE7A9-A593-4D0D-A685-F6645F4959D4}" srcOrd="0" destOrd="0" parTransId="{6BFD0A00-9CD4-4CF3-BD09-EF672B24C2C2}" sibTransId="{11228E36-81F7-4729-BC72-60CEB1B1F080}"/>
    <dgm:cxn modelId="{C140228F-DC3C-474C-A0DF-4B76C65A5E6D}" type="presOf" srcId="{FC64C360-FD86-4F89-835A-930C37811C54}" destId="{5A4AC1E8-BC37-497E-A6F8-2260BDDE8496}" srcOrd="0" destOrd="0" presId="urn:microsoft.com/office/officeart/2005/8/layout/vList2"/>
    <dgm:cxn modelId="{B9582BD3-5CEE-4EAA-B919-E470F81BCE6F}" type="presParOf" srcId="{A52AC043-233C-4164-A400-88C2ACCCB01D}" destId="{E2E265BD-3A54-4D8D-A3CE-374E5B877553}" srcOrd="0" destOrd="0" presId="urn:microsoft.com/office/officeart/2005/8/layout/vList2"/>
    <dgm:cxn modelId="{A039CBBB-B356-42F1-B2FE-BBC20412C183}" type="presParOf" srcId="{A52AC043-233C-4164-A400-88C2ACCCB01D}" destId="{D5C9F863-9E60-4C9C-B9B0-322D7C847D2E}" srcOrd="1" destOrd="0" presId="urn:microsoft.com/office/officeart/2005/8/layout/vList2"/>
    <dgm:cxn modelId="{7436F771-E343-43EA-9EA3-A85321E1A312}" type="presParOf" srcId="{A52AC043-233C-4164-A400-88C2ACCCB01D}" destId="{5A4AC1E8-BC37-497E-A6F8-2260BDDE8496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83.xml><?xml version="1.0" encoding="utf-8"?>
<dgm:dataModel xmlns:dgm="http://schemas.openxmlformats.org/drawingml/2006/diagram" xmlns:a="http://schemas.openxmlformats.org/drawingml/2006/main">
  <dgm:ptLst>
    <dgm:pt modelId="{D7FF1C02-574A-4D5A-9DB1-5702393A1312}" type="doc">
      <dgm:prSet loTypeId="urn:microsoft.com/office/officeart/2005/8/layout/vList2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72AE7A9-A593-4D0D-A685-F6645F4959D4}">
      <dgm:prSet/>
      <dgm:spPr>
        <a:solidFill>
          <a:srgbClr val="4085BF"/>
        </a:solidFill>
      </dgm:spPr>
      <dgm:t>
        <a:bodyPr/>
        <a:lstStyle/>
        <a:p>
          <a:pPr algn="ctr" rtl="0"/>
          <a:r>
            <a:rPr lang="de-DE" dirty="0" smtClean="0"/>
            <a:t>Hansa-Kolleg</a:t>
          </a:r>
          <a:endParaRPr lang="de-DE" dirty="0"/>
        </a:p>
      </dgm:t>
    </dgm:pt>
    <dgm:pt modelId="{6BFD0A00-9CD4-4CF3-BD09-EF672B24C2C2}" type="parTrans" cxnId="{03870465-4D35-40D6-9161-55D5C9BED98E}">
      <dgm:prSet/>
      <dgm:spPr/>
      <dgm:t>
        <a:bodyPr/>
        <a:lstStyle/>
        <a:p>
          <a:endParaRPr lang="de-DE"/>
        </a:p>
      </dgm:t>
    </dgm:pt>
    <dgm:pt modelId="{11228E36-81F7-4729-BC72-60CEB1B1F080}" type="sibTrans" cxnId="{03870465-4D35-40D6-9161-55D5C9BED98E}">
      <dgm:prSet/>
      <dgm:spPr/>
      <dgm:t>
        <a:bodyPr/>
        <a:lstStyle/>
        <a:p>
          <a:endParaRPr lang="de-DE"/>
        </a:p>
      </dgm:t>
    </dgm:pt>
    <dgm:pt modelId="{FC64C360-FD86-4F89-835A-930C37811C54}">
      <dgm:prSet/>
      <dgm:spPr>
        <a:solidFill>
          <a:srgbClr val="4085BF"/>
        </a:solidFill>
      </dgm:spPr>
      <dgm:t>
        <a:bodyPr/>
        <a:lstStyle/>
        <a:p>
          <a:pPr algn="ctr" rtl="0"/>
          <a:r>
            <a:rPr lang="de-DE" dirty="0" smtClean="0"/>
            <a:t>Abendgymnasium</a:t>
          </a:r>
          <a:endParaRPr lang="de-DE" dirty="0"/>
        </a:p>
      </dgm:t>
    </dgm:pt>
    <dgm:pt modelId="{30422D7B-1D86-4386-AFA6-64170113C4EC}" type="parTrans" cxnId="{53EC2711-B8D4-4068-9313-46A1DD48DFE4}">
      <dgm:prSet/>
      <dgm:spPr/>
      <dgm:t>
        <a:bodyPr/>
        <a:lstStyle/>
        <a:p>
          <a:endParaRPr lang="de-DE"/>
        </a:p>
      </dgm:t>
    </dgm:pt>
    <dgm:pt modelId="{A089F408-1513-40C3-B87F-805C4E0767C4}" type="sibTrans" cxnId="{53EC2711-B8D4-4068-9313-46A1DD48DFE4}">
      <dgm:prSet/>
      <dgm:spPr/>
      <dgm:t>
        <a:bodyPr/>
        <a:lstStyle/>
        <a:p>
          <a:endParaRPr lang="de-DE"/>
        </a:p>
      </dgm:t>
    </dgm:pt>
    <dgm:pt modelId="{42A35D23-C108-4EC0-9BFF-AAA02252F9D4}">
      <dgm:prSet/>
      <dgm:spPr>
        <a:solidFill>
          <a:srgbClr val="4085BF"/>
        </a:solidFill>
      </dgm:spPr>
      <dgm:t>
        <a:bodyPr/>
        <a:lstStyle/>
        <a:p>
          <a:pPr algn="ctr" rtl="0"/>
          <a:r>
            <a:rPr lang="de-DE" dirty="0" smtClean="0"/>
            <a:t>Berufliches Gymnasium</a:t>
          </a:r>
          <a:endParaRPr lang="de-DE" dirty="0"/>
        </a:p>
      </dgm:t>
    </dgm:pt>
    <dgm:pt modelId="{89295215-CFC8-4F11-A770-0F82E53CF1B4}" type="parTrans" cxnId="{3DCEA894-BCE7-4BAE-BE36-31DFFD964591}">
      <dgm:prSet/>
      <dgm:spPr/>
      <dgm:t>
        <a:bodyPr/>
        <a:lstStyle/>
        <a:p>
          <a:endParaRPr lang="de-DE"/>
        </a:p>
      </dgm:t>
    </dgm:pt>
    <dgm:pt modelId="{0E29412A-D9E9-46AC-A496-67D59168F511}" type="sibTrans" cxnId="{3DCEA894-BCE7-4BAE-BE36-31DFFD964591}">
      <dgm:prSet/>
      <dgm:spPr/>
      <dgm:t>
        <a:bodyPr/>
        <a:lstStyle/>
        <a:p>
          <a:endParaRPr lang="de-DE"/>
        </a:p>
      </dgm:t>
    </dgm:pt>
    <dgm:pt modelId="{A52AC043-233C-4164-A400-88C2ACCCB01D}" type="pres">
      <dgm:prSet presAssocID="{D7FF1C02-574A-4D5A-9DB1-5702393A131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E265BD-3A54-4D8D-A3CE-374E5B877553}" type="pres">
      <dgm:prSet presAssocID="{F72AE7A9-A593-4D0D-A685-F6645F4959D4}" presName="parentText" presStyleLbl="node1" presStyleIdx="0" presStyleCnt="3" custLinFactY="-500000" custLinFactNeighborX="-25938" custLinFactNeighborY="-558708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5C9F863-9E60-4C9C-B9B0-322D7C847D2E}" type="pres">
      <dgm:prSet presAssocID="{11228E36-81F7-4729-BC72-60CEB1B1F080}" presName="spacer" presStyleCnt="0"/>
      <dgm:spPr/>
    </dgm:pt>
    <dgm:pt modelId="{5A4AC1E8-BC37-497E-A6F8-2260BDDE8496}" type="pres">
      <dgm:prSet presAssocID="{FC64C360-FD86-4F89-835A-930C37811C54}" presName="parentText" presStyleLbl="node1" presStyleIdx="1" presStyleCnt="3" custLinFactNeighborY="-6991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24BEAA8-8EEA-45F3-80BA-0972BD28D5E7}" type="pres">
      <dgm:prSet presAssocID="{A089F408-1513-40C3-B87F-805C4E0767C4}" presName="spacer" presStyleCnt="0"/>
      <dgm:spPr/>
    </dgm:pt>
    <dgm:pt modelId="{2EE2C953-5109-4E93-A076-FDC68F9C993D}" type="pres">
      <dgm:prSet presAssocID="{42A35D23-C108-4EC0-9BFF-AAA02252F9D4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1E54035-E4D7-4107-92FD-7AA1A3CEC86F}" type="presOf" srcId="{D7FF1C02-574A-4D5A-9DB1-5702393A1312}" destId="{A52AC043-233C-4164-A400-88C2ACCCB01D}" srcOrd="0" destOrd="0" presId="urn:microsoft.com/office/officeart/2005/8/layout/vList2"/>
    <dgm:cxn modelId="{03870465-4D35-40D6-9161-55D5C9BED98E}" srcId="{D7FF1C02-574A-4D5A-9DB1-5702393A1312}" destId="{F72AE7A9-A593-4D0D-A685-F6645F4959D4}" srcOrd="0" destOrd="0" parTransId="{6BFD0A00-9CD4-4CF3-BD09-EF672B24C2C2}" sibTransId="{11228E36-81F7-4729-BC72-60CEB1B1F080}"/>
    <dgm:cxn modelId="{8BCAC02D-53C2-4430-8DD4-89B38B0446C2}" type="presOf" srcId="{F72AE7A9-A593-4D0D-A685-F6645F4959D4}" destId="{E2E265BD-3A54-4D8D-A3CE-374E5B877553}" srcOrd="0" destOrd="0" presId="urn:microsoft.com/office/officeart/2005/8/layout/vList2"/>
    <dgm:cxn modelId="{E67AE5ED-803B-45FB-B714-2A9A231080D0}" type="presOf" srcId="{42A35D23-C108-4EC0-9BFF-AAA02252F9D4}" destId="{2EE2C953-5109-4E93-A076-FDC68F9C993D}" srcOrd="0" destOrd="0" presId="urn:microsoft.com/office/officeart/2005/8/layout/vList2"/>
    <dgm:cxn modelId="{C433F7E7-A4B3-446F-8F88-A565EBEA4B81}" type="presOf" srcId="{FC64C360-FD86-4F89-835A-930C37811C54}" destId="{5A4AC1E8-BC37-497E-A6F8-2260BDDE8496}" srcOrd="0" destOrd="0" presId="urn:microsoft.com/office/officeart/2005/8/layout/vList2"/>
    <dgm:cxn modelId="{53EC2711-B8D4-4068-9313-46A1DD48DFE4}" srcId="{D7FF1C02-574A-4D5A-9DB1-5702393A1312}" destId="{FC64C360-FD86-4F89-835A-930C37811C54}" srcOrd="1" destOrd="0" parTransId="{30422D7B-1D86-4386-AFA6-64170113C4EC}" sibTransId="{A089F408-1513-40C3-B87F-805C4E0767C4}"/>
    <dgm:cxn modelId="{3DCEA894-BCE7-4BAE-BE36-31DFFD964591}" srcId="{D7FF1C02-574A-4D5A-9DB1-5702393A1312}" destId="{42A35D23-C108-4EC0-9BFF-AAA02252F9D4}" srcOrd="2" destOrd="0" parTransId="{89295215-CFC8-4F11-A770-0F82E53CF1B4}" sibTransId="{0E29412A-D9E9-46AC-A496-67D59168F511}"/>
    <dgm:cxn modelId="{8AB82621-6F9B-4296-9998-427C6B394308}" type="presParOf" srcId="{A52AC043-233C-4164-A400-88C2ACCCB01D}" destId="{E2E265BD-3A54-4D8D-A3CE-374E5B877553}" srcOrd="0" destOrd="0" presId="urn:microsoft.com/office/officeart/2005/8/layout/vList2"/>
    <dgm:cxn modelId="{A16763AB-F302-406B-9FEF-E41B22CD1EFD}" type="presParOf" srcId="{A52AC043-233C-4164-A400-88C2ACCCB01D}" destId="{D5C9F863-9E60-4C9C-B9B0-322D7C847D2E}" srcOrd="1" destOrd="0" presId="urn:microsoft.com/office/officeart/2005/8/layout/vList2"/>
    <dgm:cxn modelId="{25F8CE22-F020-4E91-A455-038E5884AD48}" type="presParOf" srcId="{A52AC043-233C-4164-A400-88C2ACCCB01D}" destId="{5A4AC1E8-BC37-497E-A6F8-2260BDDE8496}" srcOrd="2" destOrd="0" presId="urn:microsoft.com/office/officeart/2005/8/layout/vList2"/>
    <dgm:cxn modelId="{3B77A344-E49F-416A-B9DF-A3158B2A4881}" type="presParOf" srcId="{A52AC043-233C-4164-A400-88C2ACCCB01D}" destId="{324BEAA8-8EEA-45F3-80BA-0972BD28D5E7}" srcOrd="3" destOrd="0" presId="urn:microsoft.com/office/officeart/2005/8/layout/vList2"/>
    <dgm:cxn modelId="{D50EC22A-1984-49A7-9943-095B7A7EDD15}" type="presParOf" srcId="{A52AC043-233C-4164-A400-88C2ACCCB01D}" destId="{2EE2C953-5109-4E93-A076-FDC68F9C993D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84.xml><?xml version="1.0" encoding="utf-8"?>
<dgm:dataModel xmlns:dgm="http://schemas.openxmlformats.org/drawingml/2006/diagram" xmlns:a="http://schemas.openxmlformats.org/drawingml/2006/main">
  <dgm:ptLst>
    <dgm:pt modelId="{389960F6-EC27-46EC-8264-9CFD0B1C1697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C6E98872-F50A-4130-8DF8-BC669DB85306}">
      <dgm:prSet custT="1"/>
      <dgm:spPr>
        <a:solidFill>
          <a:schemeClr val="bg1">
            <a:lumMod val="95000"/>
            <a:alpha val="90000"/>
          </a:schemeClr>
        </a:solidFill>
      </dgm:spPr>
      <dgm:t>
        <a:bodyPr/>
        <a:lstStyle/>
        <a:p>
          <a:pPr rtl="0"/>
          <a:r>
            <a:rPr lang="de-DE" sz="1100" b="1" dirty="0" smtClean="0"/>
            <a:t>MSA</a:t>
          </a:r>
          <a:endParaRPr lang="de-DE" sz="1300" dirty="0"/>
        </a:p>
      </dgm:t>
    </dgm:pt>
    <dgm:pt modelId="{769A0719-8ADB-45CA-9CC2-3078ED871162}" type="parTrans" cxnId="{C4C109D0-6ABA-43C9-9A72-17C2A06D69A1}">
      <dgm:prSet/>
      <dgm:spPr/>
      <dgm:t>
        <a:bodyPr/>
        <a:lstStyle/>
        <a:p>
          <a:endParaRPr lang="de-DE"/>
        </a:p>
      </dgm:t>
    </dgm:pt>
    <dgm:pt modelId="{9ED91DDE-9531-4574-AEF0-96784F79D869}" type="sibTrans" cxnId="{C4C109D0-6ABA-43C9-9A72-17C2A06D69A1}">
      <dgm:prSet/>
      <dgm:spPr/>
      <dgm:t>
        <a:bodyPr/>
        <a:lstStyle/>
        <a:p>
          <a:endParaRPr lang="de-DE"/>
        </a:p>
      </dgm:t>
    </dgm:pt>
    <dgm:pt modelId="{0C109EDC-CD77-4751-9DF9-03CE32979C58}" type="pres">
      <dgm:prSet presAssocID="{389960F6-EC27-46EC-8264-9CFD0B1C1697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D763A7F-103A-4F67-8691-0120A095BEEB}" type="pres">
      <dgm:prSet presAssocID="{C6E98872-F50A-4130-8DF8-BC669DB85306}" presName="circle1" presStyleLbl="node1" presStyleIdx="0" presStyleCnt="1"/>
      <dgm:spPr>
        <a:solidFill>
          <a:schemeClr val="bg1"/>
        </a:solidFill>
      </dgm:spPr>
    </dgm:pt>
    <dgm:pt modelId="{931BA53C-B79B-414F-B4A6-C6D8B2775EB9}" type="pres">
      <dgm:prSet presAssocID="{C6E98872-F50A-4130-8DF8-BC669DB85306}" presName="space" presStyleCnt="0"/>
      <dgm:spPr/>
    </dgm:pt>
    <dgm:pt modelId="{5BE71CA0-12D7-454E-AD45-EE860C6BFD16}" type="pres">
      <dgm:prSet presAssocID="{C6E98872-F50A-4130-8DF8-BC669DB85306}" presName="rect1" presStyleLbl="alignAcc1" presStyleIdx="0" presStyleCnt="1" custLinFactNeighborY="19159"/>
      <dgm:spPr/>
      <dgm:t>
        <a:bodyPr/>
        <a:lstStyle/>
        <a:p>
          <a:endParaRPr lang="de-DE"/>
        </a:p>
      </dgm:t>
    </dgm:pt>
    <dgm:pt modelId="{CD514C0F-AB1F-46E5-805E-B7BC80E0F44E}" type="pres">
      <dgm:prSet presAssocID="{C6E98872-F50A-4130-8DF8-BC669DB85306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4C109D0-6ABA-43C9-9A72-17C2A06D69A1}" srcId="{389960F6-EC27-46EC-8264-9CFD0B1C1697}" destId="{C6E98872-F50A-4130-8DF8-BC669DB85306}" srcOrd="0" destOrd="0" parTransId="{769A0719-8ADB-45CA-9CC2-3078ED871162}" sibTransId="{9ED91DDE-9531-4574-AEF0-96784F79D869}"/>
    <dgm:cxn modelId="{F42A1707-DFFF-4246-8BF5-AD9C6C9403E0}" type="presOf" srcId="{C6E98872-F50A-4130-8DF8-BC669DB85306}" destId="{CD514C0F-AB1F-46E5-805E-B7BC80E0F44E}" srcOrd="1" destOrd="0" presId="urn:microsoft.com/office/officeart/2005/8/layout/target3"/>
    <dgm:cxn modelId="{C738C9BE-171D-45D0-A26B-74BB8D465C70}" type="presOf" srcId="{C6E98872-F50A-4130-8DF8-BC669DB85306}" destId="{5BE71CA0-12D7-454E-AD45-EE860C6BFD16}" srcOrd="0" destOrd="0" presId="urn:microsoft.com/office/officeart/2005/8/layout/target3"/>
    <dgm:cxn modelId="{B3A0F82F-8D31-4D45-A8DC-81C281FCBA89}" type="presOf" srcId="{389960F6-EC27-46EC-8264-9CFD0B1C1697}" destId="{0C109EDC-CD77-4751-9DF9-03CE32979C58}" srcOrd="0" destOrd="0" presId="urn:microsoft.com/office/officeart/2005/8/layout/target3"/>
    <dgm:cxn modelId="{FFF7A871-775C-4A7B-9B6B-649BFEF85223}" type="presParOf" srcId="{0C109EDC-CD77-4751-9DF9-03CE32979C58}" destId="{3D763A7F-103A-4F67-8691-0120A095BEEB}" srcOrd="0" destOrd="0" presId="urn:microsoft.com/office/officeart/2005/8/layout/target3"/>
    <dgm:cxn modelId="{F4BDD7AF-6F96-4872-8B88-A4F961070A04}" type="presParOf" srcId="{0C109EDC-CD77-4751-9DF9-03CE32979C58}" destId="{931BA53C-B79B-414F-B4A6-C6D8B2775EB9}" srcOrd="1" destOrd="0" presId="urn:microsoft.com/office/officeart/2005/8/layout/target3"/>
    <dgm:cxn modelId="{20BA8869-4CD2-4CF9-97B6-1E44E1221710}" type="presParOf" srcId="{0C109EDC-CD77-4751-9DF9-03CE32979C58}" destId="{5BE71CA0-12D7-454E-AD45-EE860C6BFD16}" srcOrd="2" destOrd="0" presId="urn:microsoft.com/office/officeart/2005/8/layout/target3"/>
    <dgm:cxn modelId="{85EA8262-8131-4B93-86E5-57379FB64C49}" type="presParOf" srcId="{0C109EDC-CD77-4751-9DF9-03CE32979C58}" destId="{CD514C0F-AB1F-46E5-805E-B7BC80E0F44E}" srcOrd="3" destOrd="0" presId="urn:microsoft.com/office/officeart/2005/8/layout/target3"/>
  </dgm:cxnLst>
  <dgm:bg>
    <a:noFill/>
  </dgm:bg>
  <dgm:whole/>
  <dgm:extLst>
    <a:ext uri="http://schemas.microsoft.com/office/drawing/2008/diagram">
      <dsp:dataModelExt xmlns:dsp="http://schemas.microsoft.com/office/drawing/2008/diagram" relId="rId64" minVer="http://schemas.openxmlformats.org/drawingml/2006/diagram"/>
    </a:ext>
  </dgm:extLst>
</dgm:dataModel>
</file>

<file path=ppt/diagrams/data85.xml><?xml version="1.0" encoding="utf-8"?>
<dgm:dataModel xmlns:dgm="http://schemas.openxmlformats.org/drawingml/2006/diagram" xmlns:a="http://schemas.openxmlformats.org/drawingml/2006/main">
  <dgm:ptLst>
    <dgm:pt modelId="{5457E91D-7224-4819-93A5-696E4F13DB5C}" type="doc">
      <dgm:prSet loTypeId="urn:microsoft.com/office/officeart/2005/8/layout/target3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de-DE"/>
        </a:p>
      </dgm:t>
    </dgm:pt>
    <dgm:pt modelId="{0ACD2EEC-F21B-475D-832C-3C5B68206CFF}">
      <dgm:prSet custT="1"/>
      <dgm:spPr>
        <a:solidFill>
          <a:schemeClr val="bg1">
            <a:lumMod val="95000"/>
            <a:alpha val="90000"/>
          </a:schemeClr>
        </a:solidFill>
      </dgm:spPr>
      <dgm:t>
        <a:bodyPr/>
        <a:lstStyle/>
        <a:p>
          <a:pPr rtl="0"/>
          <a:r>
            <a:rPr lang="de-DE" sz="1100" b="1" dirty="0" smtClean="0"/>
            <a:t>e/ESA</a:t>
          </a:r>
          <a:endParaRPr lang="de-DE" sz="1200" dirty="0"/>
        </a:p>
      </dgm:t>
    </dgm:pt>
    <dgm:pt modelId="{0B60976D-432E-4BAC-AE60-F27D9E00768E}" type="parTrans" cxnId="{81B27B51-255B-4CCE-AA21-EA4CEE90A23E}">
      <dgm:prSet/>
      <dgm:spPr/>
      <dgm:t>
        <a:bodyPr/>
        <a:lstStyle/>
        <a:p>
          <a:endParaRPr lang="de-DE"/>
        </a:p>
      </dgm:t>
    </dgm:pt>
    <dgm:pt modelId="{BFF788CF-183C-476C-AC67-2A8C693A9131}" type="sibTrans" cxnId="{81B27B51-255B-4CCE-AA21-EA4CEE90A23E}">
      <dgm:prSet/>
      <dgm:spPr/>
      <dgm:t>
        <a:bodyPr/>
        <a:lstStyle/>
        <a:p>
          <a:endParaRPr lang="de-DE"/>
        </a:p>
      </dgm:t>
    </dgm:pt>
    <dgm:pt modelId="{E7624AEA-8850-417C-BA4B-8F63DFB167FA}" type="pres">
      <dgm:prSet presAssocID="{5457E91D-7224-4819-93A5-696E4F13DB5C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0CE43B1-E114-4EF9-ABFC-52EDAC34ABC1}" type="pres">
      <dgm:prSet presAssocID="{0ACD2EEC-F21B-475D-832C-3C5B68206CFF}" presName="circle1" presStyleLbl="node1" presStyleIdx="0" presStyleCnt="1"/>
      <dgm:spPr>
        <a:solidFill>
          <a:schemeClr val="bg1"/>
        </a:solidFill>
      </dgm:spPr>
    </dgm:pt>
    <dgm:pt modelId="{A39E09EF-E81A-44DF-BC0E-156AFF850A2D}" type="pres">
      <dgm:prSet presAssocID="{0ACD2EEC-F21B-475D-832C-3C5B68206CFF}" presName="space" presStyleCnt="0"/>
      <dgm:spPr/>
    </dgm:pt>
    <dgm:pt modelId="{2DBA2483-F5F9-4F95-8AEC-9CA7DDEF8408}" type="pres">
      <dgm:prSet presAssocID="{0ACD2EEC-F21B-475D-832C-3C5B68206CFF}" presName="rect1" presStyleLbl="alignAcc1" presStyleIdx="0" presStyleCnt="1" custScaleX="115351" custScaleY="100000" custLinFactNeighborY="20326"/>
      <dgm:spPr/>
      <dgm:t>
        <a:bodyPr/>
        <a:lstStyle/>
        <a:p>
          <a:endParaRPr lang="de-DE"/>
        </a:p>
      </dgm:t>
    </dgm:pt>
    <dgm:pt modelId="{B9455B9B-EAB7-477F-A52C-679DA683B8F6}" type="pres">
      <dgm:prSet presAssocID="{0ACD2EEC-F21B-475D-832C-3C5B68206CFF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D036B91-7900-478A-B671-D6A63FE11EA2}" type="presOf" srcId="{0ACD2EEC-F21B-475D-832C-3C5B68206CFF}" destId="{2DBA2483-F5F9-4F95-8AEC-9CA7DDEF8408}" srcOrd="0" destOrd="0" presId="urn:microsoft.com/office/officeart/2005/8/layout/target3"/>
    <dgm:cxn modelId="{81B27B51-255B-4CCE-AA21-EA4CEE90A23E}" srcId="{5457E91D-7224-4819-93A5-696E4F13DB5C}" destId="{0ACD2EEC-F21B-475D-832C-3C5B68206CFF}" srcOrd="0" destOrd="0" parTransId="{0B60976D-432E-4BAC-AE60-F27D9E00768E}" sibTransId="{BFF788CF-183C-476C-AC67-2A8C693A9131}"/>
    <dgm:cxn modelId="{F292AF4C-F58D-488D-B930-F47CFB1DDC5F}" type="presOf" srcId="{5457E91D-7224-4819-93A5-696E4F13DB5C}" destId="{E7624AEA-8850-417C-BA4B-8F63DFB167FA}" srcOrd="0" destOrd="0" presId="urn:microsoft.com/office/officeart/2005/8/layout/target3"/>
    <dgm:cxn modelId="{B96986C8-4DCE-459E-8686-D37B81F7C247}" type="presOf" srcId="{0ACD2EEC-F21B-475D-832C-3C5B68206CFF}" destId="{B9455B9B-EAB7-477F-A52C-679DA683B8F6}" srcOrd="1" destOrd="0" presId="urn:microsoft.com/office/officeart/2005/8/layout/target3"/>
    <dgm:cxn modelId="{878AD86E-6ED2-49AE-9B52-0F9BD67158AC}" type="presParOf" srcId="{E7624AEA-8850-417C-BA4B-8F63DFB167FA}" destId="{10CE43B1-E114-4EF9-ABFC-52EDAC34ABC1}" srcOrd="0" destOrd="0" presId="urn:microsoft.com/office/officeart/2005/8/layout/target3"/>
    <dgm:cxn modelId="{69867F6B-6334-4848-8DDC-A22FB5404BE9}" type="presParOf" srcId="{E7624AEA-8850-417C-BA4B-8F63DFB167FA}" destId="{A39E09EF-E81A-44DF-BC0E-156AFF850A2D}" srcOrd="1" destOrd="0" presId="urn:microsoft.com/office/officeart/2005/8/layout/target3"/>
    <dgm:cxn modelId="{6A197549-05E5-4A5A-9004-23B893B064C3}" type="presParOf" srcId="{E7624AEA-8850-417C-BA4B-8F63DFB167FA}" destId="{2DBA2483-F5F9-4F95-8AEC-9CA7DDEF8408}" srcOrd="2" destOrd="0" presId="urn:microsoft.com/office/officeart/2005/8/layout/target3"/>
    <dgm:cxn modelId="{06E9349B-4E06-4E93-8CEC-5BE8D69B199F}" type="presParOf" srcId="{E7624AEA-8850-417C-BA4B-8F63DFB167FA}" destId="{B9455B9B-EAB7-477F-A52C-679DA683B8F6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9" minVer="http://schemas.openxmlformats.org/drawingml/2006/diagram"/>
    </a:ext>
  </dgm:extLst>
</dgm:dataModel>
</file>

<file path=ppt/diagrams/data86.xml><?xml version="1.0" encoding="utf-8"?>
<dgm:dataModel xmlns:dgm="http://schemas.openxmlformats.org/drawingml/2006/diagram" xmlns:a="http://schemas.openxmlformats.org/drawingml/2006/main">
  <dgm:ptLst>
    <dgm:pt modelId="{389960F6-EC27-46EC-8264-9CFD0B1C1697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C6E98872-F50A-4130-8DF8-BC669DB85306}">
      <dgm:prSet custT="1"/>
      <dgm:spPr>
        <a:solidFill>
          <a:schemeClr val="bg1">
            <a:lumMod val="95000"/>
            <a:alpha val="90000"/>
          </a:schemeClr>
        </a:solidFill>
      </dgm:spPr>
      <dgm:t>
        <a:bodyPr/>
        <a:lstStyle/>
        <a:p>
          <a:pPr rtl="0"/>
          <a:r>
            <a:rPr lang="de-DE" sz="1100" b="1" dirty="0" smtClean="0"/>
            <a:t>MSA</a:t>
          </a:r>
          <a:endParaRPr lang="de-DE" sz="1300" dirty="0"/>
        </a:p>
      </dgm:t>
    </dgm:pt>
    <dgm:pt modelId="{769A0719-8ADB-45CA-9CC2-3078ED871162}" type="parTrans" cxnId="{C4C109D0-6ABA-43C9-9A72-17C2A06D69A1}">
      <dgm:prSet/>
      <dgm:spPr/>
      <dgm:t>
        <a:bodyPr/>
        <a:lstStyle/>
        <a:p>
          <a:endParaRPr lang="de-DE"/>
        </a:p>
      </dgm:t>
    </dgm:pt>
    <dgm:pt modelId="{9ED91DDE-9531-4574-AEF0-96784F79D869}" type="sibTrans" cxnId="{C4C109D0-6ABA-43C9-9A72-17C2A06D69A1}">
      <dgm:prSet/>
      <dgm:spPr/>
      <dgm:t>
        <a:bodyPr/>
        <a:lstStyle/>
        <a:p>
          <a:endParaRPr lang="de-DE"/>
        </a:p>
      </dgm:t>
    </dgm:pt>
    <dgm:pt modelId="{0C109EDC-CD77-4751-9DF9-03CE32979C58}" type="pres">
      <dgm:prSet presAssocID="{389960F6-EC27-46EC-8264-9CFD0B1C1697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3D763A7F-103A-4F67-8691-0120A095BEEB}" type="pres">
      <dgm:prSet presAssocID="{C6E98872-F50A-4130-8DF8-BC669DB85306}" presName="circle1" presStyleLbl="node1" presStyleIdx="0" presStyleCnt="1"/>
      <dgm:spPr>
        <a:solidFill>
          <a:schemeClr val="bg1"/>
        </a:solidFill>
      </dgm:spPr>
    </dgm:pt>
    <dgm:pt modelId="{931BA53C-B79B-414F-B4A6-C6D8B2775EB9}" type="pres">
      <dgm:prSet presAssocID="{C6E98872-F50A-4130-8DF8-BC669DB85306}" presName="space" presStyleCnt="0"/>
      <dgm:spPr/>
    </dgm:pt>
    <dgm:pt modelId="{5BE71CA0-12D7-454E-AD45-EE860C6BFD16}" type="pres">
      <dgm:prSet presAssocID="{C6E98872-F50A-4130-8DF8-BC669DB85306}" presName="rect1" presStyleLbl="alignAcc1" presStyleIdx="0" presStyleCnt="1" custScaleX="114888" custLinFactNeighborX="1898" custLinFactNeighborY="-6522"/>
      <dgm:spPr/>
      <dgm:t>
        <a:bodyPr/>
        <a:lstStyle/>
        <a:p>
          <a:endParaRPr lang="de-DE"/>
        </a:p>
      </dgm:t>
    </dgm:pt>
    <dgm:pt modelId="{CD514C0F-AB1F-46E5-805E-B7BC80E0F44E}" type="pres">
      <dgm:prSet presAssocID="{C6E98872-F50A-4130-8DF8-BC669DB85306}" presName="rect1ParTxNoCh" presStyleLbl="alignAcc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C4C109D0-6ABA-43C9-9A72-17C2A06D69A1}" srcId="{389960F6-EC27-46EC-8264-9CFD0B1C1697}" destId="{C6E98872-F50A-4130-8DF8-BC669DB85306}" srcOrd="0" destOrd="0" parTransId="{769A0719-8ADB-45CA-9CC2-3078ED871162}" sibTransId="{9ED91DDE-9531-4574-AEF0-96784F79D869}"/>
    <dgm:cxn modelId="{99092159-8695-40C0-B75A-D5B1F6523DFA}" type="presOf" srcId="{389960F6-EC27-46EC-8264-9CFD0B1C1697}" destId="{0C109EDC-CD77-4751-9DF9-03CE32979C58}" srcOrd="0" destOrd="0" presId="urn:microsoft.com/office/officeart/2005/8/layout/target3"/>
    <dgm:cxn modelId="{6340F1DF-7CDE-48F6-9AC8-4AA9F2E50E8C}" type="presOf" srcId="{C6E98872-F50A-4130-8DF8-BC669DB85306}" destId="{5BE71CA0-12D7-454E-AD45-EE860C6BFD16}" srcOrd="0" destOrd="0" presId="urn:microsoft.com/office/officeart/2005/8/layout/target3"/>
    <dgm:cxn modelId="{2C37A6AA-4804-4CDA-B2D0-D7E0E166C196}" type="presOf" srcId="{C6E98872-F50A-4130-8DF8-BC669DB85306}" destId="{CD514C0F-AB1F-46E5-805E-B7BC80E0F44E}" srcOrd="1" destOrd="0" presId="urn:microsoft.com/office/officeart/2005/8/layout/target3"/>
    <dgm:cxn modelId="{14B6F654-35FF-43D8-8C51-46FD4F08DEE4}" type="presParOf" srcId="{0C109EDC-CD77-4751-9DF9-03CE32979C58}" destId="{3D763A7F-103A-4F67-8691-0120A095BEEB}" srcOrd="0" destOrd="0" presId="urn:microsoft.com/office/officeart/2005/8/layout/target3"/>
    <dgm:cxn modelId="{AB11E66D-4E89-4137-974A-94BDAEF7019D}" type="presParOf" srcId="{0C109EDC-CD77-4751-9DF9-03CE32979C58}" destId="{931BA53C-B79B-414F-B4A6-C6D8B2775EB9}" srcOrd="1" destOrd="0" presId="urn:microsoft.com/office/officeart/2005/8/layout/target3"/>
    <dgm:cxn modelId="{EF24446C-704E-4BB2-9948-E4CCA2F3DF81}" type="presParOf" srcId="{0C109EDC-CD77-4751-9DF9-03CE32979C58}" destId="{5BE71CA0-12D7-454E-AD45-EE860C6BFD16}" srcOrd="2" destOrd="0" presId="urn:microsoft.com/office/officeart/2005/8/layout/target3"/>
    <dgm:cxn modelId="{6CFC9BC3-6AE5-4968-800E-A7F9E4217BEB}" type="presParOf" srcId="{0C109EDC-CD77-4751-9DF9-03CE32979C58}" destId="{CD514C0F-AB1F-46E5-805E-B7BC80E0F44E}" srcOrd="3" destOrd="0" presId="urn:microsoft.com/office/officeart/2005/8/layout/target3"/>
  </dgm:cxnLst>
  <dgm:bg>
    <a:noFill/>
  </dgm:bg>
  <dgm:whole/>
  <dgm:extLst>
    <a:ext uri="http://schemas.microsoft.com/office/drawing/2008/diagram">
      <dsp:dataModelExt xmlns:dsp="http://schemas.microsoft.com/office/drawing/2008/diagram" relId="rId74" minVer="http://schemas.openxmlformats.org/drawingml/2006/diagram"/>
    </a:ext>
  </dgm:extLst>
</dgm:dataModel>
</file>

<file path=ppt/diagrams/data87.xml><?xml version="1.0" encoding="utf-8"?>
<dgm:dataModel xmlns:dgm="http://schemas.openxmlformats.org/drawingml/2006/diagram" xmlns:a="http://schemas.openxmlformats.org/drawingml/2006/main">
  <dgm:ptLst>
    <dgm:pt modelId="{D7FF1C02-574A-4D5A-9DB1-5702393A1312}" type="doc">
      <dgm:prSet loTypeId="urn:microsoft.com/office/officeart/2005/8/layout/vList2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72AE7A9-A593-4D0D-A685-F6645F4959D4}">
      <dgm:prSet custT="1"/>
      <dgm:spPr>
        <a:solidFill>
          <a:schemeClr val="accent1"/>
        </a:solidFill>
      </dgm:spPr>
      <dgm:t>
        <a:bodyPr/>
        <a:lstStyle/>
        <a:p>
          <a:pPr algn="ctr" rtl="0"/>
          <a:r>
            <a:rPr lang="de-DE" sz="1000" dirty="0" smtClean="0"/>
            <a:t>Mittlerer Schulabschluss</a:t>
          </a:r>
          <a:endParaRPr lang="de-DE" sz="1000" dirty="0"/>
        </a:p>
      </dgm:t>
    </dgm:pt>
    <dgm:pt modelId="{6BFD0A00-9CD4-4CF3-BD09-EF672B24C2C2}" type="parTrans" cxnId="{03870465-4D35-40D6-9161-55D5C9BED98E}">
      <dgm:prSet/>
      <dgm:spPr/>
      <dgm:t>
        <a:bodyPr/>
        <a:lstStyle/>
        <a:p>
          <a:endParaRPr lang="de-DE"/>
        </a:p>
      </dgm:t>
    </dgm:pt>
    <dgm:pt modelId="{11228E36-81F7-4729-BC72-60CEB1B1F080}" type="sibTrans" cxnId="{03870465-4D35-40D6-9161-55D5C9BED98E}">
      <dgm:prSet/>
      <dgm:spPr/>
      <dgm:t>
        <a:bodyPr/>
        <a:lstStyle/>
        <a:p>
          <a:endParaRPr lang="de-DE"/>
        </a:p>
      </dgm:t>
    </dgm:pt>
    <dgm:pt modelId="{FC64C360-FD86-4F89-835A-930C37811C54}">
      <dgm:prSet custT="1"/>
      <dgm:spPr>
        <a:solidFill>
          <a:schemeClr val="accent2"/>
        </a:solidFill>
        <a:effectLst/>
      </dgm:spPr>
      <dgm:t>
        <a:bodyPr/>
        <a:lstStyle/>
        <a:p>
          <a:pPr algn="ctr" rtl="0"/>
          <a:r>
            <a:rPr lang="de-DE" sz="1000" dirty="0" smtClean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rPr>
            <a:t>erweiterter / Erster allgemeinbildender Schulabschluss</a:t>
          </a:r>
          <a:endParaRPr lang="de-DE" sz="1000" dirty="0"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a:endParaRPr>
        </a:p>
      </dgm:t>
    </dgm:pt>
    <dgm:pt modelId="{30422D7B-1D86-4386-AFA6-64170113C4EC}" type="parTrans" cxnId="{53EC2711-B8D4-4068-9313-46A1DD48DFE4}">
      <dgm:prSet/>
      <dgm:spPr/>
      <dgm:t>
        <a:bodyPr/>
        <a:lstStyle/>
        <a:p>
          <a:endParaRPr lang="de-DE"/>
        </a:p>
      </dgm:t>
    </dgm:pt>
    <dgm:pt modelId="{A089F408-1513-40C3-B87F-805C4E0767C4}" type="sibTrans" cxnId="{53EC2711-B8D4-4068-9313-46A1DD48DFE4}">
      <dgm:prSet/>
      <dgm:spPr/>
      <dgm:t>
        <a:bodyPr/>
        <a:lstStyle/>
        <a:p>
          <a:endParaRPr lang="de-DE"/>
        </a:p>
      </dgm:t>
    </dgm:pt>
    <dgm:pt modelId="{A52AC043-233C-4164-A400-88C2ACCCB01D}" type="pres">
      <dgm:prSet presAssocID="{D7FF1C02-574A-4D5A-9DB1-5702393A131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E2E265BD-3A54-4D8D-A3CE-374E5B877553}" type="pres">
      <dgm:prSet presAssocID="{F72AE7A9-A593-4D0D-A685-F6645F4959D4}" presName="parentText" presStyleLbl="node1" presStyleIdx="0" presStyleCnt="2" custLinFactNeighborX="-2605" custLinFactNeighborY="-768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5C9F863-9E60-4C9C-B9B0-322D7C847D2E}" type="pres">
      <dgm:prSet presAssocID="{11228E36-81F7-4729-BC72-60CEB1B1F080}" presName="spacer" presStyleCnt="0"/>
      <dgm:spPr/>
    </dgm:pt>
    <dgm:pt modelId="{5A4AC1E8-BC37-497E-A6F8-2260BDDE8496}" type="pres">
      <dgm:prSet presAssocID="{FC64C360-FD86-4F89-835A-930C37811C54}" presName="parentText" presStyleLbl="node1" presStyleIdx="1" presStyleCnt="2" custLinFactNeighborY="-6991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3EC2711-B8D4-4068-9313-46A1DD48DFE4}" srcId="{D7FF1C02-574A-4D5A-9DB1-5702393A1312}" destId="{FC64C360-FD86-4F89-835A-930C37811C54}" srcOrd="1" destOrd="0" parTransId="{30422D7B-1D86-4386-AFA6-64170113C4EC}" sibTransId="{A089F408-1513-40C3-B87F-805C4E0767C4}"/>
    <dgm:cxn modelId="{6050DF4E-536C-43AA-B787-938B93EDED16}" type="presOf" srcId="{FC64C360-FD86-4F89-835A-930C37811C54}" destId="{5A4AC1E8-BC37-497E-A6F8-2260BDDE8496}" srcOrd="0" destOrd="0" presId="urn:microsoft.com/office/officeart/2005/8/layout/vList2"/>
    <dgm:cxn modelId="{03870465-4D35-40D6-9161-55D5C9BED98E}" srcId="{D7FF1C02-574A-4D5A-9DB1-5702393A1312}" destId="{F72AE7A9-A593-4D0D-A685-F6645F4959D4}" srcOrd="0" destOrd="0" parTransId="{6BFD0A00-9CD4-4CF3-BD09-EF672B24C2C2}" sibTransId="{11228E36-81F7-4729-BC72-60CEB1B1F080}"/>
    <dgm:cxn modelId="{973BE7BF-A46B-45D7-AD04-2071EB1071AC}" type="presOf" srcId="{D7FF1C02-574A-4D5A-9DB1-5702393A1312}" destId="{A52AC043-233C-4164-A400-88C2ACCCB01D}" srcOrd="0" destOrd="0" presId="urn:microsoft.com/office/officeart/2005/8/layout/vList2"/>
    <dgm:cxn modelId="{D797E68F-B8E6-4035-8A1F-A22DD1A718CC}" type="presOf" srcId="{F72AE7A9-A593-4D0D-A685-F6645F4959D4}" destId="{E2E265BD-3A54-4D8D-A3CE-374E5B877553}" srcOrd="0" destOrd="0" presId="urn:microsoft.com/office/officeart/2005/8/layout/vList2"/>
    <dgm:cxn modelId="{7A9F7E13-CD83-424F-8827-01C71FF61855}" type="presParOf" srcId="{A52AC043-233C-4164-A400-88C2ACCCB01D}" destId="{E2E265BD-3A54-4D8D-A3CE-374E5B877553}" srcOrd="0" destOrd="0" presId="urn:microsoft.com/office/officeart/2005/8/layout/vList2"/>
    <dgm:cxn modelId="{D706F1E5-F4D8-4B7E-B09A-77BF192B5988}" type="presParOf" srcId="{A52AC043-233C-4164-A400-88C2ACCCB01D}" destId="{D5C9F863-9E60-4C9C-B9B0-322D7C847D2E}" srcOrd="1" destOrd="0" presId="urn:microsoft.com/office/officeart/2005/8/layout/vList2"/>
    <dgm:cxn modelId="{D32ECF9F-5DC9-4C08-8A52-8117210B8A9E}" type="presParOf" srcId="{A52AC043-233C-4164-A400-88C2ACCCB01D}" destId="{5A4AC1E8-BC37-497E-A6F8-2260BDDE8496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88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Berücksichtigen Sie die Einschätzung der Grundschule.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11402" custLinFactNeighborY="-1100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AC310480-5AB4-4BA6-B40A-18753015D9AE}" type="presOf" srcId="{535198FA-1CD5-4CD7-892B-0AFAE5FAC363}" destId="{7328831C-A7AC-48C3-B011-46774979AC11}" srcOrd="0" destOrd="0" presId="urn:microsoft.com/office/officeart/2005/8/layout/vList2"/>
    <dgm:cxn modelId="{E02B78A3-BBCC-4F31-A987-DEC4FF9D1B74}" type="presOf" srcId="{F168D0D7-DD15-4F69-8DEA-3E59459CE995}" destId="{5C44AA69-D049-4B71-AE2C-A2059F01FF6F}" srcOrd="0" destOrd="0" presId="urn:microsoft.com/office/officeart/2005/8/layout/vList2"/>
    <dgm:cxn modelId="{25F66B46-BDAD-4E3B-B1E1-7B565719C7D9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89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Wählen Sie eine Schule, die zu den Stärken und Interessen Ihres Kindes passt.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0000" custScaleY="273634" custLinFactY="-119920" custLinFactNeighborX="3125" custLinFactNeighborY="-2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E2D40AA5-48AF-4CD4-8EF9-3E668C46BA2A}" type="presOf" srcId="{F168D0D7-DD15-4F69-8DEA-3E59459CE995}" destId="{5C44AA69-D049-4B71-AE2C-A2059F01FF6F}" srcOrd="0" destOrd="0" presId="urn:microsoft.com/office/officeart/2005/8/layout/vList2"/>
    <dgm:cxn modelId="{DB0049FF-8CD7-40E9-9E62-35928FA1475A}" type="presOf" srcId="{535198FA-1CD5-4CD7-892B-0AFAE5FAC363}" destId="{7328831C-A7AC-48C3-B011-46774979AC11}" srcOrd="0" destOrd="0" presId="urn:microsoft.com/office/officeart/2005/8/layout/vList2"/>
    <dgm:cxn modelId="{8D9C0B0E-D6DA-48AA-8E19-C9D8BAFF7A7E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AAC686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 rtl="0"/>
          <a:r>
            <a:rPr lang="de-DE" sz="1500" dirty="0" smtClean="0">
              <a:solidFill>
                <a:schemeClr val="bg1"/>
              </a:solidFill>
            </a:rPr>
            <a:t>umfangreiche</a:t>
          </a:r>
          <a:r>
            <a:rPr lang="de-DE" sz="1500" baseline="0" dirty="0" smtClean="0">
              <a:solidFill>
                <a:schemeClr val="bg1"/>
              </a:solidFill>
            </a:rPr>
            <a:t> Berufs- und Studienorientierung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Y="140797" custLinFactNeighborY="-3675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4B3CD0B6-0FD6-4634-8CDA-0C253A94EE09}" type="presOf" srcId="{F168D0D7-DD15-4F69-8DEA-3E59459CE995}" destId="{5C44AA69-D049-4B71-AE2C-A2059F01FF6F}" srcOrd="0" destOrd="0" presId="urn:microsoft.com/office/officeart/2005/8/layout/vList2"/>
    <dgm:cxn modelId="{7DB0BAAB-7FFA-46AD-8D82-61979D941080}" type="presOf" srcId="{535198FA-1CD5-4CD7-892B-0AFAE5FAC363}" destId="{7328831C-A7AC-48C3-B011-46774979AC11}" srcOrd="0" destOrd="0" presId="urn:microsoft.com/office/officeart/2005/8/layout/vList2"/>
    <dgm:cxn modelId="{64F10E96-ACF0-4392-BDE8-D2E8D07E4FB6}" type="presParOf" srcId="{7328831C-A7AC-48C3-B011-46774979AC11}" destId="{5C44AA69-D049-4B71-AE2C-A2059F01FF6F}" srcOrd="0" destOrd="0" presId="urn:microsoft.com/office/officeart/2005/8/layout/vList2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0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Beziehen Sie die Erwartungen und Wünsche Ihres Kindes in die Entscheidung ein.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6594" custScaleY="227618" custLinFactNeighborX="-300" custLinFactNeighborY="-32516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D3930CF-C364-4091-BA10-F74ED585AAF4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9D2D8239-74CA-4F9D-97D8-453B0523E36A}" type="presOf" srcId="{535198FA-1CD5-4CD7-892B-0AFAE5FAC363}" destId="{7328831C-A7AC-48C3-B011-46774979AC11}" srcOrd="0" destOrd="0" presId="urn:microsoft.com/office/officeart/2005/8/layout/vList2"/>
    <dgm:cxn modelId="{295F0E4D-FE49-457C-88DC-180D915CD691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35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1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Sprechen Sie mit Menschen, die in der Schule arbeiten. So bekommen Sie ein Gespür für Atmosphäre und Umgang miteinander. 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27709" custScaleY="367582" custLinFactNeighborX="-2663" custLinFactNeighborY="-2125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B81C6616-693A-4C3D-92DC-47AE94B65EFB}" type="presOf" srcId="{F168D0D7-DD15-4F69-8DEA-3E59459CE995}" destId="{5C44AA69-D049-4B71-AE2C-A2059F01FF6F}" srcOrd="0" destOrd="0" presId="urn:microsoft.com/office/officeart/2005/8/layout/vList2"/>
    <dgm:cxn modelId="{E3C183E3-061B-4BEF-B667-BFA5B38B3C8F}" type="presOf" srcId="{535198FA-1CD5-4CD7-892B-0AFAE5FAC363}" destId="{7328831C-A7AC-48C3-B011-46774979AC11}" srcOrd="0" destOrd="0" presId="urn:microsoft.com/office/officeart/2005/8/layout/vList2"/>
    <dgm:cxn modelId="{71DEC9E4-1B82-4C56-888D-5EA0B6858159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4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2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Bedenken Sie, welche Auswirkungen ein Schulformwechsel nach Klasse 6 für Ihr Kind haben könnte.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317103" custLinFactY="-13065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CDEA8569-DA15-4C3B-A0BA-7CCE47B2E5A9}" type="presOf" srcId="{F168D0D7-DD15-4F69-8DEA-3E59459CE995}" destId="{5C44AA69-D049-4B71-AE2C-A2059F01FF6F}" srcOrd="0" destOrd="0" presId="urn:microsoft.com/office/officeart/2005/8/layout/vList2"/>
    <dgm:cxn modelId="{AA9633C5-C340-4C18-A7B9-A26282A91728}" type="presOf" srcId="{535198FA-1CD5-4CD7-892B-0AFAE5FAC363}" destId="{7328831C-A7AC-48C3-B011-46774979AC11}" srcOrd="0" destOrd="0" presId="urn:microsoft.com/office/officeart/2005/8/layout/vList2"/>
    <dgm:cxn modelId="{AE267805-E9EB-4155-A374-BF5DEEEDEBCE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45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3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Berücksichtigen Sie die Einschätzung der Grundschule.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11402" custLinFactNeighborY="-1100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F60B502D-458D-41A4-BF00-09443EEED36F}" type="presOf" srcId="{F168D0D7-DD15-4F69-8DEA-3E59459CE995}" destId="{5C44AA69-D049-4B71-AE2C-A2059F01FF6F}" srcOrd="0" destOrd="0" presId="urn:microsoft.com/office/officeart/2005/8/layout/vList2"/>
    <dgm:cxn modelId="{AC75E3CC-36D6-49E2-853F-450071C39DB6}" type="presOf" srcId="{535198FA-1CD5-4CD7-892B-0AFAE5FAC363}" destId="{7328831C-A7AC-48C3-B011-46774979AC11}" srcOrd="0" destOrd="0" presId="urn:microsoft.com/office/officeart/2005/8/layout/vList2"/>
    <dgm:cxn modelId="{DEDC7A97-8E72-43E2-A40A-31E0CF7BF2B2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4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Wählen Sie eine Schule, die zu den Stärken und Interessen Ihres Kindes passt.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0000" custScaleY="273634" custLinFactY="-119920" custLinFactNeighborX="3125" custLinFactNeighborY="-2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63F505E9-CDC4-4AC7-909F-E1A8833419E3}" type="presOf" srcId="{F168D0D7-DD15-4F69-8DEA-3E59459CE995}" destId="{5C44AA69-D049-4B71-AE2C-A2059F01FF6F}" srcOrd="0" destOrd="0" presId="urn:microsoft.com/office/officeart/2005/8/layout/vList2"/>
    <dgm:cxn modelId="{F347B6D4-19FC-42FD-A48F-96A44DA66815}" type="presOf" srcId="{535198FA-1CD5-4CD7-892B-0AFAE5FAC363}" destId="{7328831C-A7AC-48C3-B011-46774979AC11}" srcOrd="0" destOrd="0" presId="urn:microsoft.com/office/officeart/2005/8/layout/vList2"/>
    <dgm:cxn modelId="{509F259A-C160-4D1E-9158-032AF27ECB53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5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Beziehen Sie die Erwartungen und Wünsche Ihres Kindes in die Entscheidung ein.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6594" custScaleY="227618" custLinFactNeighborX="-300" custLinFactNeighborY="-32516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B3C3CCEF-2FE5-403A-9209-D510F993D48C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21CBB4BF-C273-480A-9EF6-533C9F404CFB}" type="presOf" srcId="{535198FA-1CD5-4CD7-892B-0AFAE5FAC363}" destId="{7328831C-A7AC-48C3-B011-46774979AC11}" srcOrd="0" destOrd="0" presId="urn:microsoft.com/office/officeart/2005/8/layout/vList2"/>
    <dgm:cxn modelId="{BC30EB78-25C3-415A-9F6E-4D149C53097B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3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6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Sprechen Sie mit Menschen, die in der Schule arbeiten. So bekommen Sie ein Gespür für Atmosphäre und Umgang miteinander. 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27709" custScaleY="367582" custLinFactNeighborX="-2663" custLinFactNeighborY="-2125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5D22ED5-377B-4A21-A36F-6021F1C87080}" type="presOf" srcId="{535198FA-1CD5-4CD7-892B-0AFAE5FAC363}" destId="{7328831C-A7AC-48C3-B011-46774979AC11}" srcOrd="0" destOrd="0" presId="urn:microsoft.com/office/officeart/2005/8/layout/vList2"/>
    <dgm:cxn modelId="{92701A87-D79B-42D4-B5ED-7EBB9FA04C4E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34986454-972F-4974-8379-F7915AD81125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35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7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chemeClr val="accent3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Bedenken Sie, welche Auswirkungen ein Schulformwechsel nach Klasse 6 für Ihr Kind haben könnte.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317103" custLinFactY="-13065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D876391E-0C0D-4927-9693-A774BB618CE8}" type="presOf" srcId="{F168D0D7-DD15-4F69-8DEA-3E59459CE995}" destId="{5C44AA69-D049-4B71-AE2C-A2059F01FF6F}" srcOrd="0" destOrd="0" presId="urn:microsoft.com/office/officeart/2005/8/layout/vList2"/>
    <dgm:cxn modelId="{483A9861-A835-4E42-9F8C-CA25292E2E89}" type="presOf" srcId="{535198FA-1CD5-4CD7-892B-0AFAE5FAC363}" destId="{7328831C-A7AC-48C3-B011-46774979AC11}" srcOrd="0" destOrd="0" presId="urn:microsoft.com/office/officeart/2005/8/layout/vList2"/>
    <dgm:cxn modelId="{6A3E1504-FA86-4494-82B4-87A587F11B95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4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8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Höhepunkte im Schulleben 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Ang="0" custLinFactY="-100000" custLinFactNeighborX="-35670" custLinFactNeighborY="-18576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794A616-81DA-41B5-8B6C-567FFC322665}" type="presOf" srcId="{F168D0D7-DD15-4F69-8DEA-3E59459CE995}" destId="{5C44AA69-D049-4B71-AE2C-A2059F01FF6F}" srcOrd="0" destOrd="0" presId="urn:microsoft.com/office/officeart/2005/8/layout/vList2"/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7B92AD1E-A63F-46F5-AFD1-A22314441F4D}" type="presOf" srcId="{535198FA-1CD5-4CD7-892B-0AFAE5FAC363}" destId="{7328831C-A7AC-48C3-B011-46774979AC11}" srcOrd="0" destOrd="0" presId="urn:microsoft.com/office/officeart/2005/8/layout/vList2"/>
    <dgm:cxn modelId="{ADACC2B7-4C88-4184-B352-998AFE2247A2}" type="presParOf" srcId="{7328831C-A7AC-48C3-B011-46774979AC11}" destId="{5C44AA69-D049-4B71-AE2C-A2059F01FF6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9.xml><?xml version="1.0" encoding="utf-8"?>
<dgm:dataModel xmlns:dgm="http://schemas.openxmlformats.org/drawingml/2006/diagram" xmlns:a="http://schemas.openxmlformats.org/drawingml/2006/main">
  <dgm:ptLst>
    <dgm:pt modelId="{535198FA-1CD5-4CD7-892B-0AFAE5FAC363}" type="doc">
      <dgm:prSet loTypeId="urn:microsoft.com/office/officeart/2005/8/layout/vList2" loCatId="list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de-DE"/>
        </a:p>
      </dgm:t>
    </dgm:pt>
    <dgm:pt modelId="{F168D0D7-DD15-4F69-8DEA-3E59459CE995}">
      <dgm:prSet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solidFill>
          <a:srgbClr val="7C91C8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de-DE" sz="1500" dirty="0" smtClean="0">
              <a:solidFill>
                <a:schemeClr val="bg1"/>
              </a:solidFill>
            </a:rPr>
            <a:t>Ganztagsschule</a:t>
          </a:r>
          <a:endParaRPr lang="de-DE" sz="1500" dirty="0">
            <a:solidFill>
              <a:schemeClr val="bg1"/>
            </a:solidFill>
          </a:endParaRPr>
        </a:p>
      </dgm:t>
    </dgm:pt>
    <dgm:pt modelId="{2ADDE5A9-84AD-42E2-A2FF-2B378908D337}" type="parTrans" cxnId="{21C2E635-6AA1-4F0E-B077-2A92B5E364F4}">
      <dgm:prSet/>
      <dgm:spPr/>
      <dgm:t>
        <a:bodyPr/>
        <a:lstStyle/>
        <a:p>
          <a:endParaRPr lang="de-DE"/>
        </a:p>
      </dgm:t>
    </dgm:pt>
    <dgm:pt modelId="{1850AA12-DDDD-4CE6-B2D3-7438344BCC14}" type="sibTrans" cxnId="{21C2E635-6AA1-4F0E-B077-2A92B5E364F4}">
      <dgm:prSet/>
      <dgm:spPr/>
      <dgm:t>
        <a:bodyPr/>
        <a:lstStyle/>
        <a:p>
          <a:endParaRPr lang="de-DE"/>
        </a:p>
      </dgm:t>
    </dgm:pt>
    <dgm:pt modelId="{7328831C-A7AC-48C3-B011-46774979AC11}" type="pres">
      <dgm:prSet presAssocID="{535198FA-1CD5-4CD7-892B-0AFAE5FAC36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44AA69-D049-4B71-AE2C-A2059F01FF6F}" type="pres">
      <dgm:prSet presAssocID="{F168D0D7-DD15-4F69-8DEA-3E59459CE995}" presName="parentText" presStyleLbl="node1" presStyleIdx="0" presStyleCnt="1" custScaleX="101684" custScaleY="244786" custLinFactX="-48989" custLinFactNeighborX="-100000" custLinFactNeighborY="239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1C2E635-6AA1-4F0E-B077-2A92B5E364F4}" srcId="{535198FA-1CD5-4CD7-892B-0AFAE5FAC363}" destId="{F168D0D7-DD15-4F69-8DEA-3E59459CE995}" srcOrd="0" destOrd="0" parTransId="{2ADDE5A9-84AD-42E2-A2FF-2B378908D337}" sibTransId="{1850AA12-DDDD-4CE6-B2D3-7438344BCC14}"/>
    <dgm:cxn modelId="{90E659EE-BB08-47AD-9998-38CDD5749F00}" type="presOf" srcId="{535198FA-1CD5-4CD7-892B-0AFAE5FAC363}" destId="{7328831C-A7AC-48C3-B011-46774979AC11}" srcOrd="0" destOrd="0" presId="urn:microsoft.com/office/officeart/2005/8/layout/vList2"/>
    <dgm:cxn modelId="{29945E9C-8DC5-434B-A819-65889A00E0DA}" type="presOf" srcId="{F168D0D7-DD15-4F69-8DEA-3E59459CE995}" destId="{5C44AA69-D049-4B71-AE2C-A2059F01FF6F}" srcOrd="0" destOrd="0" presId="urn:microsoft.com/office/officeart/2005/8/layout/vList2"/>
    <dgm:cxn modelId="{A9C6D2D1-3FA5-462D-98CD-56847E62889C}" type="presParOf" srcId="{7328831C-A7AC-48C3-B011-46774979AC11}" destId="{5C44AA69-D049-4B71-AE2C-A2059F01FF6F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5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FAEA0D-A724-43CC-928B-9A3D3724F0CB}">
      <dsp:nvSpPr>
        <dsp:cNvPr id="0" name=""/>
        <dsp:cNvSpPr/>
      </dsp:nvSpPr>
      <dsp:spPr>
        <a:xfrm>
          <a:off x="735620" y="10871"/>
          <a:ext cx="1800001" cy="1800001"/>
        </a:xfrm>
        <a:prstGeom prst="ellipse">
          <a:avLst/>
        </a:prstGeom>
        <a:solidFill>
          <a:srgbClr val="F4950A"/>
        </a:solidFill>
        <a:ln w="9525" cap="flat" cmpd="sng" algn="ctr">
          <a:solidFill>
            <a:schemeClr val="accent6">
              <a:lumMod val="7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CE3B2F5-BF2B-4689-85D4-B8D9028FF04E}">
      <dsp:nvSpPr>
        <dsp:cNvPr id="0" name=""/>
        <dsp:cNvSpPr/>
      </dsp:nvSpPr>
      <dsp:spPr>
        <a:xfrm>
          <a:off x="744640" y="638627"/>
          <a:ext cx="1814260" cy="481642"/>
        </a:xfrm>
        <a:prstGeom prst="rect">
          <a:avLst/>
        </a:prstGeom>
        <a:noFill/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Vielfalt der Lern- </a:t>
          </a:r>
          <a:br>
            <a:rPr lang="de-DE" sz="1500" kern="1200" dirty="0" smtClean="0">
              <a:solidFill>
                <a:schemeClr val="bg1"/>
              </a:solidFill>
            </a:rPr>
          </a:br>
          <a:r>
            <a:rPr lang="de-DE" sz="1500" kern="1200" dirty="0" smtClean="0">
              <a:solidFill>
                <a:schemeClr val="bg1"/>
              </a:solidFill>
            </a:rPr>
            <a:t>und Arbeitsforme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744640" y="638627"/>
        <a:ext cx="1814260" cy="48164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600096" cy="215947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kleine Klassen mit 23 - 25 </a:t>
          </a:r>
          <a:r>
            <a:rPr lang="de-DE" sz="1500" kern="1200" dirty="0" err="1" smtClean="0">
              <a:solidFill>
                <a:schemeClr val="bg1"/>
              </a:solidFill>
            </a:rPr>
            <a:t>Schüler:inne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0542" y="10542"/>
        <a:ext cx="3579012" cy="194863"/>
      </dsp:txXfrm>
    </dsp:sp>
  </dsp:spTree>
</dsp:drawing>
</file>

<file path=ppt/diagrams/drawing10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280"/>
          <a:ext cx="3526134" cy="287370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Unterricht - Angebote und Organisation 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4028" y="14308"/>
        <a:ext cx="3498078" cy="259314"/>
      </dsp:txXfrm>
    </dsp:sp>
  </dsp:spTree>
</dsp:drawing>
</file>

<file path=ppt/diagrams/drawing10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972840" cy="255868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Vernetzung im Stadtteil, Kooperationspartner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2490" y="12490"/>
        <a:ext cx="3947860" cy="230888"/>
      </dsp:txXfrm>
    </dsp:sp>
  </dsp:spTree>
</dsp:drawing>
</file>

<file path=ppt/diagrams/drawing10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1947468" cy="268148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Fördern und Forder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3090" y="13090"/>
        <a:ext cx="1921288" cy="241968"/>
      </dsp:txXfrm>
    </dsp:sp>
  </dsp:spTree>
</dsp:drawing>
</file>

<file path=ppt/diagrams/drawing10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4917864" cy="285873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Gesprächskultur (Lehrerkräfte - </a:t>
          </a:r>
          <a:r>
            <a:rPr lang="de-DE" sz="1500" kern="1200" dirty="0" err="1" smtClean="0">
              <a:solidFill>
                <a:schemeClr val="bg1"/>
              </a:solidFill>
            </a:rPr>
            <a:t>Schüler:innen</a:t>
          </a:r>
          <a:r>
            <a:rPr lang="de-DE" sz="1500" kern="1200" dirty="0" smtClean="0">
              <a:solidFill>
                <a:schemeClr val="bg1"/>
              </a:solidFill>
            </a:rPr>
            <a:t> - Eltern)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3955" y="13955"/>
        <a:ext cx="4889954" cy="257963"/>
      </dsp:txXfrm>
    </dsp:sp>
  </dsp:spTree>
</dsp:drawing>
</file>

<file path=ppt/diagrams/drawing10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4917864" cy="285873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Gesprächskultur (Lehrerkräfte - </a:t>
          </a:r>
          <a:r>
            <a:rPr lang="de-DE" sz="1500" kern="1200" dirty="0" err="1" smtClean="0">
              <a:solidFill>
                <a:schemeClr val="bg1"/>
              </a:solidFill>
            </a:rPr>
            <a:t>Schüler:innen</a:t>
          </a:r>
          <a:r>
            <a:rPr lang="de-DE" sz="1500" kern="1200" dirty="0" smtClean="0">
              <a:solidFill>
                <a:schemeClr val="bg1"/>
              </a:solidFill>
            </a:rPr>
            <a:t> - Eltern)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3955" y="13955"/>
        <a:ext cx="4889954" cy="257963"/>
      </dsp:txXfrm>
    </dsp:sp>
  </dsp:spTree>
</dsp:drawing>
</file>

<file path=ppt/diagrams/drawing10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2469081" cy="230686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Höhepunkte im Schulleben 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1261" y="11261"/>
        <a:ext cx="2446559" cy="208164"/>
      </dsp:txXfrm>
    </dsp:sp>
  </dsp:spTree>
</dsp:drawing>
</file>

<file path=ppt/diagrams/drawing10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972840" cy="255868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Vernetzung im Stadtteil, Kooperationspartner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2490" y="12490"/>
        <a:ext cx="3947860" cy="230888"/>
      </dsp:txXfrm>
    </dsp:sp>
  </dsp:spTree>
</dsp:drawing>
</file>

<file path=ppt/diagrams/drawing10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1947468" cy="268148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Fördern und Forder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3090" y="13090"/>
        <a:ext cx="1921288" cy="241968"/>
      </dsp:txXfrm>
    </dsp:sp>
  </dsp:spTree>
</dsp:drawing>
</file>

<file path=ppt/diagrams/drawing10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534"/>
          <a:ext cx="1585063" cy="273478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Ganztagsschule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3350" y="13884"/>
        <a:ext cx="1558363" cy="246778"/>
      </dsp:txXfrm>
    </dsp:sp>
  </dsp:spTree>
</dsp:drawing>
</file>

<file path=ppt/diagrams/drawing10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280"/>
          <a:ext cx="3526134" cy="287370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Unterricht - Angebote und Organisation 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4028" y="14308"/>
        <a:ext cx="3498078" cy="25931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1557823" cy="215578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alle Abschlüsse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0524" y="10524"/>
        <a:ext cx="1536775" cy="194530"/>
      </dsp:txXfrm>
    </dsp:sp>
  </dsp:spTree>
</dsp:drawing>
</file>

<file path=ppt/diagrams/drawing1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8084968" cy="359648"/>
        </a:xfrm>
        <a:prstGeom prst="roundRect">
          <a:avLst/>
        </a:prstGeom>
        <a:solidFill>
          <a:schemeClr val="accent1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Was macht diese Schule so besonders? Warum ist es schön, hier zu lernen oder zu arbeiten?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557" y="17557"/>
        <a:ext cx="8049854" cy="324534"/>
      </dsp:txXfrm>
    </dsp:sp>
  </dsp:spTree>
</dsp:drawing>
</file>

<file path=ppt/diagrams/drawing1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19832"/>
          <a:ext cx="7288240" cy="340207"/>
        </a:xfrm>
        <a:prstGeom prst="roundRect">
          <a:avLst/>
        </a:prstGeom>
        <a:solidFill>
          <a:schemeClr val="accent1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Gibt es regelmäßig wiederkehrende Höhepunkte im Schuljahr (z.B. Projektwochen)?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6608" y="36440"/>
        <a:ext cx="7255024" cy="306991"/>
      </dsp:txXfrm>
    </dsp:sp>
  </dsp:spTree>
</dsp:drawing>
</file>

<file path=ppt/diagrams/drawing1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333"/>
          <a:ext cx="8928992" cy="341525"/>
        </a:xfrm>
        <a:prstGeom prst="roundRect">
          <a:avLst/>
        </a:prstGeom>
        <a:solidFill>
          <a:schemeClr val="accent1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Gibt es Programme, die das Miteinander der </a:t>
          </a:r>
          <a:r>
            <a:rPr lang="de-DE" sz="1500" kern="1200" dirty="0" err="1" smtClean="0">
              <a:solidFill>
                <a:schemeClr val="bg1"/>
              </a:solidFill>
            </a:rPr>
            <a:t>Schüler:innen</a:t>
          </a:r>
          <a:r>
            <a:rPr lang="de-DE" sz="1500" kern="1200" dirty="0" smtClean="0">
              <a:solidFill>
                <a:schemeClr val="bg1"/>
              </a:solidFill>
            </a:rPr>
            <a:t> stärken (Patenschaften, Streitschlichter etc.)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6672" y="17005"/>
        <a:ext cx="8895648" cy="308181"/>
      </dsp:txXfrm>
    </dsp:sp>
  </dsp:spTree>
</dsp:drawing>
</file>

<file path=ppt/diagrams/drawing1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8568833" cy="340207"/>
        </a:xfrm>
        <a:prstGeom prst="roundRect">
          <a:avLst/>
        </a:prstGeom>
        <a:solidFill>
          <a:schemeClr val="accent1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Wie erleichtert die Schule das Ankommen in der Schule und fördert die neue Klassengemeinschaft?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6608" y="16608"/>
        <a:ext cx="8535617" cy="306991"/>
      </dsp:txXfrm>
    </dsp:sp>
  </dsp:spTree>
</dsp:drawing>
</file>

<file path=ppt/diagrams/drawing1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351"/>
          <a:ext cx="8095535" cy="359648"/>
        </a:xfrm>
        <a:prstGeom prst="roundRect">
          <a:avLst/>
        </a:prstGeom>
        <a:solidFill>
          <a:schemeClr val="accent1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Worauf legt die Schule besonderen Wert im Kontakt mit den </a:t>
          </a:r>
          <a:r>
            <a:rPr lang="de-DE" sz="1500" kern="1200" dirty="0" err="1" smtClean="0">
              <a:solidFill>
                <a:schemeClr val="bg1"/>
              </a:solidFill>
            </a:rPr>
            <a:t>Schüler:innen</a:t>
          </a:r>
          <a:r>
            <a:rPr lang="de-DE" sz="1500" kern="1200" dirty="0" smtClean="0">
              <a:solidFill>
                <a:schemeClr val="bg1"/>
              </a:solidFill>
            </a:rPr>
            <a:t> und deren Eltern?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557" y="17908"/>
        <a:ext cx="8060421" cy="324534"/>
      </dsp:txXfrm>
    </dsp:sp>
  </dsp:spTree>
</dsp:drawing>
</file>

<file path=ppt/diagrams/drawing1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351"/>
          <a:ext cx="7316241" cy="359648"/>
        </a:xfrm>
        <a:prstGeom prst="roundRect">
          <a:avLst/>
        </a:prstGeom>
        <a:solidFill>
          <a:schemeClr val="accent1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Welche Angebote für besonders leistungsfähige oder begabte </a:t>
          </a:r>
          <a:r>
            <a:rPr lang="de-DE" sz="1500" kern="1200" dirty="0" err="1" smtClean="0">
              <a:solidFill>
                <a:schemeClr val="bg1"/>
              </a:solidFill>
            </a:rPr>
            <a:t>Schüler:innen</a:t>
          </a:r>
          <a:r>
            <a:rPr lang="de-DE" sz="1500" kern="1200" dirty="0" smtClean="0">
              <a:solidFill>
                <a:schemeClr val="bg1"/>
              </a:solidFill>
            </a:rPr>
            <a:t> gibt es?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557" y="17908"/>
        <a:ext cx="7281127" cy="324534"/>
      </dsp:txXfrm>
    </dsp:sp>
  </dsp:spTree>
</dsp:drawing>
</file>

<file path=ppt/diagrams/drawing1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351"/>
          <a:ext cx="5977172" cy="359648"/>
        </a:xfrm>
        <a:prstGeom prst="roundRect">
          <a:avLst/>
        </a:prstGeom>
        <a:solidFill>
          <a:schemeClr val="accent1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Welche Angebote für </a:t>
          </a:r>
          <a:r>
            <a:rPr lang="de-DE" sz="1500" kern="1200" dirty="0" err="1" smtClean="0">
              <a:solidFill>
                <a:schemeClr val="bg1"/>
              </a:solidFill>
            </a:rPr>
            <a:t>Schüler:innen</a:t>
          </a:r>
          <a:r>
            <a:rPr lang="de-DE" sz="1500" kern="1200" dirty="0" smtClean="0">
              <a:solidFill>
                <a:schemeClr val="bg1"/>
              </a:solidFill>
            </a:rPr>
            <a:t> mit Lernschwierigkeiten gibt es?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557" y="17908"/>
        <a:ext cx="5942058" cy="324534"/>
      </dsp:txXfrm>
    </dsp:sp>
  </dsp:spTree>
</dsp:drawing>
</file>

<file path=ppt/diagrams/drawing1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132412" cy="359648"/>
        </a:xfrm>
        <a:prstGeom prst="roundRect">
          <a:avLst/>
        </a:prstGeom>
        <a:solidFill>
          <a:schemeClr val="accent1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Welche Kurse gibt es im Ganztag?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557" y="17557"/>
        <a:ext cx="3097298" cy="324534"/>
      </dsp:txXfrm>
    </dsp:sp>
  </dsp:spTree>
</dsp:drawing>
</file>

<file path=ppt/diagrams/drawing1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19792"/>
          <a:ext cx="4426990" cy="340207"/>
        </a:xfrm>
        <a:prstGeom prst="roundRect">
          <a:avLst/>
        </a:prstGeom>
        <a:solidFill>
          <a:schemeClr val="accent1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Wie viele Unterrichtsstunden pro Woche gibt es?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6608" y="36400"/>
        <a:ext cx="4393774" cy="306991"/>
      </dsp:txXfrm>
    </dsp:sp>
  </dsp:spTree>
</dsp:drawing>
</file>

<file path=ppt/diagrams/drawing1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351"/>
          <a:ext cx="2916000" cy="359648"/>
        </a:xfrm>
        <a:prstGeom prst="roundRect">
          <a:avLst/>
        </a:prstGeom>
        <a:solidFill>
          <a:schemeClr val="accent1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Haben Sie noch Fragen an uns?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557" y="17908"/>
        <a:ext cx="2880886" cy="324534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4951186" cy="456416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Förderung besonderer Begabungen und handwerklicher, technischer, musischer und künstlerischer Fähigkeite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2280" y="22280"/>
        <a:ext cx="4906626" cy="411856"/>
      </dsp:txXfrm>
    </dsp:sp>
  </dsp:spTree>
</dsp:drawing>
</file>

<file path=ppt/diagrams/drawing1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2916000" cy="359648"/>
        </a:xfrm>
        <a:prstGeom prst="roundRect">
          <a:avLst/>
        </a:prstGeom>
        <a:solidFill>
          <a:schemeClr val="accent1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Haben Sie noch Fragen an uns?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7557" y="17557"/>
        <a:ext cx="2880886" cy="324534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5738555" cy="215789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gemeinsames Lernen auf unterschiedlichen Anforderungsniveaus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0534" y="10534"/>
        <a:ext cx="5717487" cy="194721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008826" cy="423970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individuelle Begleitung zum höchstmöglichen Schulabschluss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0697" y="20697"/>
        <a:ext cx="2967432" cy="382576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598020" cy="215789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  <a:effectLst/>
            </a:rPr>
            <a:t>flexibler Einstieg in die 2. Fremdsprache</a:t>
          </a:r>
          <a:endParaRPr lang="de-DE" sz="1500" kern="1200" dirty="0">
            <a:solidFill>
              <a:schemeClr val="bg1"/>
            </a:solidFill>
            <a:effectLst/>
          </a:endParaRPr>
        </a:p>
      </dsp:txBody>
      <dsp:txXfrm>
        <a:off x="10534" y="10534"/>
        <a:ext cx="3576952" cy="194721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FAEA0D-A724-43CC-928B-9A3D3724F0CB}">
      <dsp:nvSpPr>
        <dsp:cNvPr id="0" name=""/>
        <dsp:cNvSpPr/>
      </dsp:nvSpPr>
      <dsp:spPr>
        <a:xfrm>
          <a:off x="735620" y="10871"/>
          <a:ext cx="1800001" cy="1800001"/>
        </a:xfrm>
        <a:prstGeom prst="ellipse">
          <a:avLst/>
        </a:prstGeom>
        <a:solidFill>
          <a:srgbClr val="F4950A"/>
        </a:solidFill>
        <a:ln w="9525" cap="flat" cmpd="sng" algn="ctr">
          <a:solidFill>
            <a:schemeClr val="accent6">
              <a:lumMod val="7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CE3B2F5-BF2B-4689-85D4-B8D9028FF04E}">
      <dsp:nvSpPr>
        <dsp:cNvPr id="0" name=""/>
        <dsp:cNvSpPr/>
      </dsp:nvSpPr>
      <dsp:spPr>
        <a:xfrm>
          <a:off x="744640" y="638627"/>
          <a:ext cx="1814260" cy="481642"/>
        </a:xfrm>
        <a:prstGeom prst="rect">
          <a:avLst/>
        </a:prstGeom>
        <a:noFill/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Vielfalt der Lern- </a:t>
          </a:r>
          <a:br>
            <a:rPr lang="de-DE" sz="1500" kern="1200" dirty="0" smtClean="0">
              <a:solidFill>
                <a:schemeClr val="bg1"/>
              </a:solidFill>
            </a:rPr>
          </a:br>
          <a:r>
            <a:rPr lang="de-DE" sz="1500" kern="1200" dirty="0" smtClean="0">
              <a:solidFill>
                <a:schemeClr val="bg1"/>
              </a:solidFill>
            </a:rPr>
            <a:t>und Arbeitsforme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744640" y="638627"/>
        <a:ext cx="1814260" cy="481642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1933049" cy="264963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kooperatives Lernen</a:t>
          </a:r>
        </a:p>
      </dsp:txBody>
      <dsp:txXfrm>
        <a:off x="12934" y="12934"/>
        <a:ext cx="1907181" cy="239095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88"/>
          <a:ext cx="2730158" cy="255366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fächerübergreifende Projekte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2466" y="12554"/>
        <a:ext cx="2705226" cy="230434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88"/>
          <a:ext cx="3548286" cy="255366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forschendes und entdeckendes Lerne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2466" y="12554"/>
        <a:ext cx="3523354" cy="2304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1933049" cy="264963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kooperatives Lernen</a:t>
          </a:r>
        </a:p>
      </dsp:txBody>
      <dsp:txXfrm>
        <a:off x="12934" y="12934"/>
        <a:ext cx="1907181" cy="239095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88"/>
          <a:ext cx="4870818" cy="255366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individuelle Unterrichtsangebote – Fördern und Forder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2466" y="12554"/>
        <a:ext cx="4845886" cy="230434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88"/>
          <a:ext cx="4261623" cy="255366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selbstständiges Lernen – auch in Hausaufgabe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2466" y="12554"/>
        <a:ext cx="4236691" cy="230434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54568"/>
          <a:ext cx="2604359" cy="458382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lebendige Diskussionskultur und Demokratieerziehung</a:t>
          </a:r>
        </a:p>
      </dsp:txBody>
      <dsp:txXfrm>
        <a:off x="22376" y="76944"/>
        <a:ext cx="2559607" cy="413630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14101"/>
          <a:ext cx="2658005" cy="458382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hochwertigen und leistungs-orientierten Fachunterricht</a:t>
          </a:r>
        </a:p>
      </dsp:txBody>
      <dsp:txXfrm>
        <a:off x="22376" y="36477"/>
        <a:ext cx="2613253" cy="413630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210"/>
          <a:ext cx="5657620" cy="215789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in neun Jahren zum Abitur (ein Jahr länger als beim Gymnasium)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0534" y="10744"/>
        <a:ext cx="5636552" cy="194721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5990500" cy="347336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Exzellenzförderung in Naturwissenschaften, Sprachen, Künsten etc.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6956" y="16956"/>
        <a:ext cx="5956588" cy="313424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086147" cy="230686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ganztägige Bildung und Betreuung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1261" y="11261"/>
        <a:ext cx="3063625" cy="208164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31"/>
          <a:ext cx="4147449" cy="223488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Umfangreiche</a:t>
          </a:r>
          <a:r>
            <a:rPr lang="de-DE" sz="1500" kern="1200" baseline="0" dirty="0" smtClean="0">
              <a:solidFill>
                <a:schemeClr val="bg1"/>
              </a:solidFill>
            </a:rPr>
            <a:t> Berufs- und Studienorientierung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0910" y="10941"/>
        <a:ext cx="4125629" cy="20166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88"/>
          <a:ext cx="2730158" cy="255366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fächerübergreifende Projekte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2466" y="12554"/>
        <a:ext cx="2705226" cy="230434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305608" cy="285873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kleine Klassen mit 23 - 25 Schüler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3955" y="13955"/>
        <a:ext cx="3277698" cy="257963"/>
      </dsp:txXfrm>
    </dsp:sp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1637778" cy="212116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alle Abschlüsse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0355" y="10355"/>
        <a:ext cx="1617068" cy="191406"/>
      </dsp:txXfrm>
    </dsp:sp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4744222" cy="528269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Förderung besonderer Begabung und handwerklicher, technischer, musischer und künstlerischer Fähigkeite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5788" y="25788"/>
        <a:ext cx="4692646" cy="476693"/>
      </dsp:txXfrm>
    </dsp:sp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2447452" cy="294785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Multiprofessionelle Teams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4390" y="14390"/>
        <a:ext cx="2418672" cy="266005"/>
      </dsp:txXfrm>
    </dsp:sp>
  </dsp:spTree>
</dsp:drawing>
</file>

<file path=ppt/diagrams/drawing3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250"/>
          <a:ext cx="5657620" cy="255868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In neun Jahren zum Abitur (ein Jahr länger als beim Gymnasium)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2490" y="12740"/>
        <a:ext cx="5632640" cy="230888"/>
      </dsp:txXfrm>
    </dsp:sp>
  </dsp:spTree>
</dsp:drawing>
</file>

<file path=ppt/diagrams/drawing3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008826" cy="425085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Individuelle Begleitung zum höchstmöglichen Schulabschluss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0751" y="20751"/>
        <a:ext cx="2967324" cy="383583"/>
      </dsp:txXfrm>
    </dsp:sp>
  </dsp:spTree>
</dsp:drawing>
</file>

<file path=ppt/diagrams/drawing3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4147449" cy="215789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umfangreiche</a:t>
          </a:r>
          <a:r>
            <a:rPr lang="de-DE" sz="1500" kern="1200" baseline="0" dirty="0" smtClean="0">
              <a:solidFill>
                <a:schemeClr val="bg1"/>
              </a:solidFill>
            </a:rPr>
            <a:t> Berufs- und Studienorientierung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0534" y="10534"/>
        <a:ext cx="4126381" cy="194721"/>
      </dsp:txXfrm>
    </dsp:sp>
  </dsp:spTree>
</dsp:drawing>
</file>

<file path=ppt/diagrams/drawing3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600000" cy="215789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kleine Klassen mit 23 - 25 </a:t>
          </a:r>
          <a:r>
            <a:rPr lang="de-DE" sz="1500" kern="1200" dirty="0" err="1" smtClean="0">
              <a:solidFill>
                <a:schemeClr val="bg1"/>
              </a:solidFill>
            </a:rPr>
            <a:t>Schüler:inne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0534" y="10534"/>
        <a:ext cx="3578932" cy="194721"/>
      </dsp:txXfrm>
    </dsp:sp>
  </dsp:spTree>
</dsp:drawing>
</file>

<file path=ppt/diagrams/drawing3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1557823" cy="215578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alle Abschlüsse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0524" y="10524"/>
        <a:ext cx="1536775" cy="194530"/>
      </dsp:txXfrm>
    </dsp:sp>
  </dsp:spTree>
</dsp:drawing>
</file>

<file path=ppt/diagrams/drawing3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4951186" cy="456417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Förderung besonderer Begabungen und handwerklicher, technischer, musischer und künstlerischer Fähigkeite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2280" y="22280"/>
        <a:ext cx="4906626" cy="41185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88"/>
          <a:ext cx="3548286" cy="255366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forschendes und entdeckendes Lerne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2466" y="12554"/>
        <a:ext cx="3523354" cy="230434"/>
      </dsp:txXfrm>
    </dsp:sp>
  </dsp:spTree>
</dsp:drawing>
</file>

<file path=ppt/diagrams/drawing4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5738400" cy="215947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gemeinsames Lernen auf unterschiedlichen Anforderungsniveaus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0542" y="10542"/>
        <a:ext cx="5717316" cy="194863"/>
      </dsp:txXfrm>
    </dsp:sp>
  </dsp:spTree>
</dsp:drawing>
</file>

<file path=ppt/diagrams/drawing4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210"/>
          <a:ext cx="5657620" cy="215789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in neun Jahren zum Abitur (ein Jahr länger als beim Gymnasium)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0534" y="10744"/>
        <a:ext cx="5636552" cy="194721"/>
      </dsp:txXfrm>
    </dsp:sp>
  </dsp:spTree>
</dsp:drawing>
</file>

<file path=ppt/diagrams/drawing4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008826" cy="423970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individuelle Begleitung zum höchstmöglichen Schulabschluss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0697" y="20697"/>
        <a:ext cx="2967432" cy="382576"/>
      </dsp:txXfrm>
    </dsp:sp>
  </dsp:spTree>
</dsp:drawing>
</file>

<file path=ppt/diagrams/drawing4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598020" cy="215789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  <a:effectLst/>
            </a:rPr>
            <a:t>flexibler Einstieg in die 2. Fremdsprache</a:t>
          </a:r>
          <a:endParaRPr lang="de-DE" sz="1500" kern="1200" dirty="0">
            <a:solidFill>
              <a:schemeClr val="bg1"/>
            </a:solidFill>
            <a:effectLst/>
          </a:endParaRPr>
        </a:p>
      </dsp:txBody>
      <dsp:txXfrm>
        <a:off x="10534" y="10534"/>
        <a:ext cx="3576952" cy="194721"/>
      </dsp:txXfrm>
    </dsp:sp>
  </dsp:spTree>
</dsp:drawing>
</file>

<file path=ppt/diagrams/drawing4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2389255" cy="273478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acht Jahre bis zum Abitur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3350" y="13350"/>
        <a:ext cx="2362555" cy="246778"/>
      </dsp:txXfrm>
    </dsp:sp>
  </dsp:spTree>
</dsp:drawing>
</file>

<file path=ppt/diagrams/drawing4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4271021" cy="287370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hohe Anforderungen und hohes Leistungsniveau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4028" y="14028"/>
        <a:ext cx="4242965" cy="259314"/>
      </dsp:txXfrm>
    </dsp:sp>
  </dsp:spTree>
</dsp:drawing>
</file>

<file path=ppt/diagrams/drawing4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2861183" cy="448183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zielgleicher Unterricht: vertiefte Allgemeinbildung 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1878" y="21878"/>
        <a:ext cx="2817427" cy="404427"/>
      </dsp:txXfrm>
    </dsp:sp>
  </dsp:spTree>
</dsp:drawing>
</file>

<file path=ppt/diagrams/drawing4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072844" cy="255868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häufig homogenere Lerngruppe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2490" y="12490"/>
        <a:ext cx="3047864" cy="230888"/>
      </dsp:txXfrm>
    </dsp:sp>
  </dsp:spTree>
</dsp:drawing>
</file>

<file path=ppt/diagrams/drawing4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721868" cy="285873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Fremdsprache in der Regel ab Klasse 6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3955" y="13955"/>
        <a:ext cx="3693958" cy="257963"/>
      </dsp:txXfrm>
    </dsp:sp>
  </dsp:spTree>
</dsp:drawing>
</file>

<file path=ppt/diagrams/drawing4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2901129" cy="230686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8 </a:t>
          </a:r>
          <a:r>
            <a:rPr lang="de-DE" sz="1500" kern="1200" dirty="0" err="1" smtClean="0">
              <a:solidFill>
                <a:schemeClr val="bg1"/>
              </a:solidFill>
            </a:rPr>
            <a:t>Schüler:innen</a:t>
          </a:r>
          <a:r>
            <a:rPr lang="de-DE" sz="1500" kern="1200" dirty="0" smtClean="0">
              <a:solidFill>
                <a:schemeClr val="bg1"/>
              </a:solidFill>
            </a:rPr>
            <a:t> in einer Klasse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1261" y="11261"/>
        <a:ext cx="2878607" cy="20816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88"/>
          <a:ext cx="4870818" cy="255366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individuelle Unterrichtsangebote – Fördern und Forder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2466" y="12554"/>
        <a:ext cx="4845886" cy="230434"/>
      </dsp:txXfrm>
    </dsp:sp>
  </dsp:spTree>
</dsp:drawing>
</file>

<file path=ppt/diagrams/drawing5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2901599" cy="230686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8 </a:t>
          </a:r>
          <a:r>
            <a:rPr lang="de-DE" sz="1500" kern="1200" dirty="0" err="1" smtClean="0">
              <a:solidFill>
                <a:schemeClr val="bg1"/>
              </a:solidFill>
            </a:rPr>
            <a:t>Schüler:innen</a:t>
          </a:r>
          <a:r>
            <a:rPr lang="de-DE" sz="1500" kern="1200" dirty="0" smtClean="0">
              <a:solidFill>
                <a:schemeClr val="bg1"/>
              </a:solidFill>
            </a:rPr>
            <a:t> in einer Klasse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1261" y="11261"/>
        <a:ext cx="2879077" cy="208164"/>
      </dsp:txXfrm>
    </dsp:sp>
  </dsp:spTree>
</dsp:drawing>
</file>

<file path=ppt/diagrams/drawing5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5990500" cy="347336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Exzellenzförderung in Naturwissenschaften, Sprachen, Künsten etc.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6956" y="16956"/>
        <a:ext cx="5956588" cy="313424"/>
      </dsp:txXfrm>
    </dsp:sp>
  </dsp:spTree>
</dsp:drawing>
</file>

<file path=ppt/diagrams/drawing5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721867" cy="285873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2. Fremdsprache in der Regel ab Klasse 6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3955" y="13955"/>
        <a:ext cx="3693957" cy="257963"/>
      </dsp:txXfrm>
    </dsp:sp>
  </dsp:spTree>
</dsp:drawing>
</file>

<file path=ppt/diagrams/drawing5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2389255" cy="273478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acht Jahre bis zum Abitur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3350" y="13350"/>
        <a:ext cx="2362555" cy="246778"/>
      </dsp:txXfrm>
    </dsp:sp>
  </dsp:spTree>
</dsp:drawing>
</file>

<file path=ppt/diagrams/drawing5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4271021" cy="287370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hohe Anforderungen und hohes Leistungsniveau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4028" y="14028"/>
        <a:ext cx="4242965" cy="259314"/>
      </dsp:txXfrm>
    </dsp:sp>
  </dsp:spTree>
</dsp:drawing>
</file>

<file path=ppt/diagrams/drawing5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072844" cy="255868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häufig homogenere Lerngruppe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2490" y="12490"/>
        <a:ext cx="3047864" cy="230888"/>
      </dsp:txXfrm>
    </dsp:sp>
  </dsp:spTree>
</dsp:drawing>
</file>

<file path=ppt/diagrams/drawing5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2861183" cy="448183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zielgleicher Unterricht: vertiefte Allgemeinbildung 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1878" y="21878"/>
        <a:ext cx="2817427" cy="40442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88"/>
          <a:ext cx="4261623" cy="255366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selbstständiges Lernen – auch in Hausaufgaben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2466" y="12554"/>
        <a:ext cx="4236691" cy="230434"/>
      </dsp:txXfrm>
    </dsp:sp>
  </dsp:spTree>
</dsp:drawing>
</file>

<file path=ppt/diagrams/drawing6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A40A5F-5DF3-4BB4-B72F-37E74D681AF5}">
      <dsp:nvSpPr>
        <dsp:cNvPr id="0" name=""/>
        <dsp:cNvSpPr/>
      </dsp:nvSpPr>
      <dsp:spPr>
        <a:xfrm>
          <a:off x="373811" y="0"/>
          <a:ext cx="735117" cy="735117"/>
        </a:xfrm>
        <a:prstGeom prst="ellipse">
          <a:avLst/>
        </a:prstGeom>
        <a:solidFill>
          <a:srgbClr val="BFCBD8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Zusatz-</a:t>
          </a:r>
          <a:r>
            <a:rPr lang="de-DE" sz="1000" kern="1200" dirty="0" err="1" smtClean="0"/>
            <a:t>qualifi</a:t>
          </a:r>
          <a:r>
            <a:rPr lang="de-DE" sz="1000" kern="1200" dirty="0" smtClean="0"/>
            <a:t>-kation</a:t>
          </a:r>
          <a:endParaRPr lang="de-DE" sz="700" kern="1200" dirty="0"/>
        </a:p>
      </dsp:txBody>
      <dsp:txXfrm>
        <a:off x="481466" y="107655"/>
        <a:ext cx="519807" cy="519807"/>
      </dsp:txXfrm>
    </dsp:sp>
  </dsp:spTree>
</dsp:drawing>
</file>

<file path=ppt/diagrams/drawing6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E087F8-C6A9-411A-AF39-543ACB05D6EF}">
      <dsp:nvSpPr>
        <dsp:cNvPr id="0" name=""/>
        <dsp:cNvSpPr/>
      </dsp:nvSpPr>
      <dsp:spPr>
        <a:xfrm>
          <a:off x="37703" y="497"/>
          <a:ext cx="1153431" cy="450769"/>
        </a:xfrm>
        <a:prstGeom prst="roundRect">
          <a:avLst>
            <a:gd name="adj" fmla="val 10000"/>
          </a:avLst>
        </a:prstGeom>
        <a:solidFill>
          <a:srgbClr val="A5580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Duale</a:t>
          </a:r>
          <a:r>
            <a:rPr lang="de-DE" sz="800" kern="1200" dirty="0" smtClean="0"/>
            <a:t> </a:t>
          </a:r>
          <a:br>
            <a:rPr lang="de-DE" sz="800" kern="1200" dirty="0" smtClean="0"/>
          </a:br>
          <a:r>
            <a:rPr lang="de-DE" sz="1000" kern="1200" dirty="0" smtClean="0"/>
            <a:t>Berufsausbildung</a:t>
          </a:r>
          <a:endParaRPr lang="de-DE" sz="800" kern="1200" dirty="0"/>
        </a:p>
      </dsp:txBody>
      <dsp:txXfrm>
        <a:off x="50906" y="13700"/>
        <a:ext cx="1127025" cy="424363"/>
      </dsp:txXfrm>
    </dsp:sp>
  </dsp:spTree>
</dsp:drawing>
</file>

<file path=ppt/diagrams/drawing6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8B604F-A667-4808-9261-262E329E7D6B}">
      <dsp:nvSpPr>
        <dsp:cNvPr id="0" name=""/>
        <dsp:cNvSpPr/>
      </dsp:nvSpPr>
      <dsp:spPr>
        <a:xfrm>
          <a:off x="-33135" y="0"/>
          <a:ext cx="246755" cy="246755"/>
        </a:xfrm>
        <a:prstGeom prst="pie">
          <a:avLst>
            <a:gd name="adj1" fmla="val 5400000"/>
            <a:gd name="adj2" fmla="val 1620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5C710D2-2E76-4AC8-8AC8-748BDFD3E6C3}">
      <dsp:nvSpPr>
        <dsp:cNvPr id="0" name=""/>
        <dsp:cNvSpPr/>
      </dsp:nvSpPr>
      <dsp:spPr>
        <a:xfrm>
          <a:off x="0" y="0"/>
          <a:ext cx="1574772" cy="246755"/>
        </a:xfrm>
        <a:prstGeom prst="rect">
          <a:avLst/>
        </a:prstGeom>
        <a:solidFill>
          <a:schemeClr val="bg2">
            <a:alpha val="9000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Berufsschulabschluss</a:t>
          </a:r>
          <a:endParaRPr lang="de-DE" sz="1100" b="1" kern="1200" dirty="0"/>
        </a:p>
      </dsp:txBody>
      <dsp:txXfrm>
        <a:off x="0" y="0"/>
        <a:ext cx="1574772" cy="246755"/>
      </dsp:txXfrm>
    </dsp:sp>
  </dsp:spTree>
</dsp:drawing>
</file>

<file path=ppt/diagrams/drawing6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92030F-778E-4954-B125-2224A0BF0D7D}">
      <dsp:nvSpPr>
        <dsp:cNvPr id="0" name=""/>
        <dsp:cNvSpPr/>
      </dsp:nvSpPr>
      <dsp:spPr>
        <a:xfrm>
          <a:off x="143154" y="322"/>
          <a:ext cx="1060403" cy="4497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Schulische </a:t>
          </a:r>
          <a:br>
            <a:rPr lang="de-DE" sz="1000" kern="1200" dirty="0" smtClean="0"/>
          </a:br>
          <a:r>
            <a:rPr lang="de-DE" sz="1000" kern="1200" dirty="0" smtClean="0"/>
            <a:t>Berufsausbildung</a:t>
          </a:r>
          <a:endParaRPr lang="de-DE" sz="1000" kern="1200" dirty="0"/>
        </a:p>
      </dsp:txBody>
      <dsp:txXfrm>
        <a:off x="156328" y="13496"/>
        <a:ext cx="1034055" cy="423432"/>
      </dsp:txXfrm>
    </dsp:sp>
  </dsp:spTree>
</dsp:drawing>
</file>

<file path=ppt/diagrams/drawing6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E9559D-DA83-4F44-84FF-CA345300BAC2}">
      <dsp:nvSpPr>
        <dsp:cNvPr id="0" name=""/>
        <dsp:cNvSpPr/>
      </dsp:nvSpPr>
      <dsp:spPr>
        <a:xfrm>
          <a:off x="0" y="0"/>
          <a:ext cx="225218" cy="225218"/>
        </a:xfrm>
        <a:prstGeom prst="pie">
          <a:avLst>
            <a:gd name="adj1" fmla="val 5400000"/>
            <a:gd name="adj2" fmla="val 1620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10B2C4-3FF5-400D-9B5C-13D601D6433F}">
      <dsp:nvSpPr>
        <dsp:cNvPr id="0" name=""/>
        <dsp:cNvSpPr/>
      </dsp:nvSpPr>
      <dsp:spPr>
        <a:xfrm>
          <a:off x="20940" y="0"/>
          <a:ext cx="1449531" cy="225218"/>
        </a:xfrm>
        <a:prstGeom prst="rect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Fachhochschulreife</a:t>
          </a:r>
          <a:endParaRPr lang="de-DE" sz="900" b="1" kern="1200" dirty="0"/>
        </a:p>
      </dsp:txBody>
      <dsp:txXfrm>
        <a:off x="20940" y="0"/>
        <a:ext cx="1449531" cy="225218"/>
      </dsp:txXfrm>
    </dsp:sp>
  </dsp:spTree>
</dsp:drawing>
</file>

<file path=ppt/diagrams/drawing6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E9559D-DA83-4F44-84FF-CA345300BAC2}">
      <dsp:nvSpPr>
        <dsp:cNvPr id="0" name=""/>
        <dsp:cNvSpPr/>
      </dsp:nvSpPr>
      <dsp:spPr>
        <a:xfrm>
          <a:off x="0" y="0"/>
          <a:ext cx="356295" cy="356295"/>
        </a:xfrm>
        <a:prstGeom prst="pie">
          <a:avLst>
            <a:gd name="adj1" fmla="val 5400000"/>
            <a:gd name="adj2" fmla="val 16200000"/>
          </a:avLst>
        </a:prstGeom>
        <a:solidFill>
          <a:schemeClr val="bg1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10B2C4-3FF5-400D-9B5C-13D601D6433F}">
      <dsp:nvSpPr>
        <dsp:cNvPr id="0" name=""/>
        <dsp:cNvSpPr/>
      </dsp:nvSpPr>
      <dsp:spPr>
        <a:xfrm>
          <a:off x="60976" y="0"/>
          <a:ext cx="1339560" cy="356295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25400" cap="flat" cmpd="sng" algn="ctr">
          <a:solidFill>
            <a:srgbClr val="F4950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Allgemeine Hochschulreife*</a:t>
          </a:r>
          <a:endParaRPr lang="de-DE" sz="900" b="1" kern="1200" dirty="0"/>
        </a:p>
      </dsp:txBody>
      <dsp:txXfrm>
        <a:off x="60976" y="0"/>
        <a:ext cx="1339560" cy="356295"/>
      </dsp:txXfrm>
    </dsp:sp>
  </dsp:spTree>
</dsp:drawing>
</file>

<file path=ppt/diagrams/drawing6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E265BD-3A54-4D8D-A3CE-374E5B877553}">
      <dsp:nvSpPr>
        <dsp:cNvPr id="0" name=""/>
        <dsp:cNvSpPr/>
      </dsp:nvSpPr>
      <dsp:spPr>
        <a:xfrm>
          <a:off x="0" y="2142"/>
          <a:ext cx="1344273" cy="210600"/>
        </a:xfrm>
        <a:prstGeom prst="roundRect">
          <a:avLst/>
        </a:prstGeom>
        <a:solidFill>
          <a:srgbClr val="33993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Höhere Handelsschule</a:t>
          </a:r>
          <a:endParaRPr lang="de-DE" sz="900" kern="1200" dirty="0"/>
        </a:p>
      </dsp:txBody>
      <dsp:txXfrm>
        <a:off x="10281" y="12423"/>
        <a:ext cx="1323711" cy="190038"/>
      </dsp:txXfrm>
    </dsp:sp>
    <dsp:sp modelId="{5A4AC1E8-BC37-497E-A6F8-2260BDDE8496}">
      <dsp:nvSpPr>
        <dsp:cNvPr id="0" name=""/>
        <dsp:cNvSpPr/>
      </dsp:nvSpPr>
      <dsp:spPr>
        <a:xfrm>
          <a:off x="0" y="238663"/>
          <a:ext cx="1344273" cy="210600"/>
        </a:xfrm>
        <a:prstGeom prst="roundRect">
          <a:avLst/>
        </a:prstGeom>
        <a:solidFill>
          <a:srgbClr val="008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Höhere Technikschule</a:t>
          </a:r>
          <a:endParaRPr lang="de-DE" sz="900" kern="1200" dirty="0"/>
        </a:p>
      </dsp:txBody>
      <dsp:txXfrm>
        <a:off x="10281" y="248944"/>
        <a:ext cx="1323711" cy="190038"/>
      </dsp:txXfrm>
    </dsp:sp>
  </dsp:spTree>
</dsp:drawing>
</file>

<file path=ppt/diagrams/drawing6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E265BD-3A54-4D8D-A3CE-374E5B877553}">
      <dsp:nvSpPr>
        <dsp:cNvPr id="0" name=""/>
        <dsp:cNvSpPr/>
      </dsp:nvSpPr>
      <dsp:spPr>
        <a:xfrm>
          <a:off x="0" y="0"/>
          <a:ext cx="1344273" cy="210600"/>
        </a:xfrm>
        <a:prstGeom prst="roundRect">
          <a:avLst/>
        </a:prstGeom>
        <a:solidFill>
          <a:srgbClr val="4085B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Hansa-Kolleg</a:t>
          </a:r>
          <a:endParaRPr lang="de-DE" sz="900" kern="1200" dirty="0"/>
        </a:p>
      </dsp:txBody>
      <dsp:txXfrm>
        <a:off x="10281" y="10281"/>
        <a:ext cx="1323711" cy="190038"/>
      </dsp:txXfrm>
    </dsp:sp>
    <dsp:sp modelId="{5A4AC1E8-BC37-497E-A6F8-2260BDDE8496}">
      <dsp:nvSpPr>
        <dsp:cNvPr id="0" name=""/>
        <dsp:cNvSpPr/>
      </dsp:nvSpPr>
      <dsp:spPr>
        <a:xfrm>
          <a:off x="0" y="239229"/>
          <a:ext cx="1344273" cy="210600"/>
        </a:xfrm>
        <a:prstGeom prst="roundRect">
          <a:avLst/>
        </a:prstGeom>
        <a:solidFill>
          <a:srgbClr val="4085B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Abendgymnasium</a:t>
          </a:r>
          <a:endParaRPr lang="de-DE" sz="900" kern="1200" dirty="0"/>
        </a:p>
      </dsp:txBody>
      <dsp:txXfrm>
        <a:off x="10281" y="249510"/>
        <a:ext cx="1323711" cy="190038"/>
      </dsp:txXfrm>
    </dsp:sp>
    <dsp:sp modelId="{2EE2C953-5109-4E93-A076-FDC68F9C993D}">
      <dsp:nvSpPr>
        <dsp:cNvPr id="0" name=""/>
        <dsp:cNvSpPr/>
      </dsp:nvSpPr>
      <dsp:spPr>
        <a:xfrm>
          <a:off x="0" y="477561"/>
          <a:ext cx="1344273" cy="210600"/>
        </a:xfrm>
        <a:prstGeom prst="roundRect">
          <a:avLst/>
        </a:prstGeom>
        <a:solidFill>
          <a:srgbClr val="4085B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Berufliches Gymnasium</a:t>
          </a:r>
          <a:endParaRPr lang="de-DE" sz="900" kern="1200" dirty="0"/>
        </a:p>
      </dsp:txBody>
      <dsp:txXfrm>
        <a:off x="10281" y="487842"/>
        <a:ext cx="1323711" cy="19003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54568"/>
          <a:ext cx="2604359" cy="458382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lebendige Diskussionskultur und Demokratieerziehung</a:t>
          </a:r>
        </a:p>
      </dsp:txBody>
      <dsp:txXfrm>
        <a:off x="22376" y="76944"/>
        <a:ext cx="2559607" cy="413630"/>
      </dsp:txXfrm>
    </dsp:sp>
  </dsp:spTree>
</dsp:drawing>
</file>

<file path=ppt/diagrams/drawing7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763A7F-103A-4F67-8691-0120A095BEEB}">
      <dsp:nvSpPr>
        <dsp:cNvPr id="0" name=""/>
        <dsp:cNvSpPr/>
      </dsp:nvSpPr>
      <dsp:spPr>
        <a:xfrm>
          <a:off x="0" y="0"/>
          <a:ext cx="208358" cy="208358"/>
        </a:xfrm>
        <a:prstGeom prst="pie">
          <a:avLst>
            <a:gd name="adj1" fmla="val 5400000"/>
            <a:gd name="adj2" fmla="val 1620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E71CA0-12D7-454E-AD45-EE860C6BFD16}">
      <dsp:nvSpPr>
        <dsp:cNvPr id="0" name=""/>
        <dsp:cNvSpPr/>
      </dsp:nvSpPr>
      <dsp:spPr>
        <a:xfrm>
          <a:off x="104179" y="0"/>
          <a:ext cx="466710" cy="208358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MSA</a:t>
          </a:r>
          <a:endParaRPr lang="de-DE" sz="1300" kern="1200" dirty="0"/>
        </a:p>
      </dsp:txBody>
      <dsp:txXfrm>
        <a:off x="104179" y="0"/>
        <a:ext cx="466710" cy="208358"/>
      </dsp:txXfrm>
    </dsp:sp>
  </dsp:spTree>
</dsp:drawing>
</file>

<file path=ppt/diagrams/drawing7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CE43B1-E114-4EF9-ABFC-52EDAC34ABC1}">
      <dsp:nvSpPr>
        <dsp:cNvPr id="0" name=""/>
        <dsp:cNvSpPr/>
      </dsp:nvSpPr>
      <dsp:spPr>
        <a:xfrm>
          <a:off x="-16664" y="0"/>
          <a:ext cx="224936" cy="224936"/>
        </a:xfrm>
        <a:prstGeom prst="pie">
          <a:avLst>
            <a:gd name="adj1" fmla="val 5400000"/>
            <a:gd name="adj2" fmla="val 1620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BA2483-F5F9-4F95-8AEC-9CA7DDEF8408}">
      <dsp:nvSpPr>
        <dsp:cNvPr id="0" name=""/>
        <dsp:cNvSpPr/>
      </dsp:nvSpPr>
      <dsp:spPr>
        <a:xfrm>
          <a:off x="62474" y="0"/>
          <a:ext cx="500881" cy="224936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e/ESA</a:t>
          </a:r>
          <a:endParaRPr lang="de-DE" sz="1200" kern="1200" dirty="0"/>
        </a:p>
      </dsp:txBody>
      <dsp:txXfrm>
        <a:off x="62474" y="0"/>
        <a:ext cx="500881" cy="224936"/>
      </dsp:txXfrm>
    </dsp:sp>
  </dsp:spTree>
</dsp:drawing>
</file>

<file path=ppt/diagrams/drawing7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763A7F-103A-4F67-8691-0120A095BEEB}">
      <dsp:nvSpPr>
        <dsp:cNvPr id="0" name=""/>
        <dsp:cNvSpPr/>
      </dsp:nvSpPr>
      <dsp:spPr>
        <a:xfrm>
          <a:off x="-15985" y="0"/>
          <a:ext cx="226800" cy="226800"/>
        </a:xfrm>
        <a:prstGeom prst="pie">
          <a:avLst>
            <a:gd name="adj1" fmla="val 5400000"/>
            <a:gd name="adj2" fmla="val 1620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E71CA0-12D7-454E-AD45-EE860C6BFD16}">
      <dsp:nvSpPr>
        <dsp:cNvPr id="0" name=""/>
        <dsp:cNvSpPr/>
      </dsp:nvSpPr>
      <dsp:spPr>
        <a:xfrm>
          <a:off x="65442" y="0"/>
          <a:ext cx="493437" cy="226800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MSA</a:t>
          </a:r>
          <a:endParaRPr lang="de-DE" sz="1300" kern="1200" dirty="0"/>
        </a:p>
      </dsp:txBody>
      <dsp:txXfrm>
        <a:off x="65442" y="0"/>
        <a:ext cx="493437" cy="226800"/>
      </dsp:txXfrm>
    </dsp:sp>
  </dsp:spTree>
</dsp:drawing>
</file>

<file path=ppt/diagrams/drawing7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E265BD-3A54-4D8D-A3CE-374E5B877553}">
      <dsp:nvSpPr>
        <dsp:cNvPr id="0" name=""/>
        <dsp:cNvSpPr/>
      </dsp:nvSpPr>
      <dsp:spPr>
        <a:xfrm>
          <a:off x="0" y="0"/>
          <a:ext cx="2511539" cy="285930"/>
        </a:xfrm>
        <a:prstGeom prst="round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Mittlerer Schulabschluss</a:t>
          </a:r>
          <a:endParaRPr lang="de-DE" sz="1000" kern="1200" dirty="0"/>
        </a:p>
      </dsp:txBody>
      <dsp:txXfrm>
        <a:off x="13958" y="13958"/>
        <a:ext cx="2483623" cy="258014"/>
      </dsp:txXfrm>
    </dsp:sp>
    <dsp:sp modelId="{5A4AC1E8-BC37-497E-A6F8-2260BDDE8496}">
      <dsp:nvSpPr>
        <dsp:cNvPr id="0" name=""/>
        <dsp:cNvSpPr/>
      </dsp:nvSpPr>
      <dsp:spPr>
        <a:xfrm>
          <a:off x="0" y="296012"/>
          <a:ext cx="2511539" cy="285930"/>
        </a:xfrm>
        <a:prstGeom prst="round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rPr>
            <a:t>erweiterter / Erster allgemeinbildender Schulabschluss</a:t>
          </a:r>
          <a:endParaRPr lang="de-DE" sz="1000" kern="1200" dirty="0"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a:endParaRPr>
        </a:p>
      </dsp:txBody>
      <dsp:txXfrm>
        <a:off x="13958" y="309970"/>
        <a:ext cx="2483623" cy="258014"/>
      </dsp:txXfrm>
    </dsp:sp>
  </dsp:spTree>
</dsp:drawing>
</file>

<file path=ppt/diagrams/drawing7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A40A5F-5DF3-4BB4-B72F-37E74D681AF5}">
      <dsp:nvSpPr>
        <dsp:cNvPr id="0" name=""/>
        <dsp:cNvSpPr/>
      </dsp:nvSpPr>
      <dsp:spPr>
        <a:xfrm>
          <a:off x="373811" y="0"/>
          <a:ext cx="735117" cy="735117"/>
        </a:xfrm>
        <a:prstGeom prst="ellipse">
          <a:avLst/>
        </a:prstGeom>
        <a:solidFill>
          <a:srgbClr val="BFCBD8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Zusatz-</a:t>
          </a:r>
          <a:r>
            <a:rPr lang="de-DE" sz="1000" kern="1200" dirty="0" err="1" smtClean="0"/>
            <a:t>qualifi</a:t>
          </a:r>
          <a:r>
            <a:rPr lang="de-DE" sz="1000" kern="1200" dirty="0" smtClean="0"/>
            <a:t>-kation</a:t>
          </a:r>
          <a:endParaRPr lang="de-DE" sz="700" kern="1200" dirty="0"/>
        </a:p>
      </dsp:txBody>
      <dsp:txXfrm>
        <a:off x="481466" y="107655"/>
        <a:ext cx="519807" cy="519807"/>
      </dsp:txXfrm>
    </dsp:sp>
  </dsp:spTree>
</dsp:drawing>
</file>

<file path=ppt/diagrams/drawing7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E087F8-C6A9-411A-AF39-543ACB05D6EF}">
      <dsp:nvSpPr>
        <dsp:cNvPr id="0" name=""/>
        <dsp:cNvSpPr/>
      </dsp:nvSpPr>
      <dsp:spPr>
        <a:xfrm>
          <a:off x="37703" y="497"/>
          <a:ext cx="1153431" cy="450769"/>
        </a:xfrm>
        <a:prstGeom prst="roundRect">
          <a:avLst>
            <a:gd name="adj" fmla="val 10000"/>
          </a:avLst>
        </a:prstGeom>
        <a:solidFill>
          <a:srgbClr val="A5580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Duale</a:t>
          </a:r>
          <a:r>
            <a:rPr lang="de-DE" sz="800" kern="1200" dirty="0" smtClean="0"/>
            <a:t> </a:t>
          </a:r>
          <a:br>
            <a:rPr lang="de-DE" sz="800" kern="1200" dirty="0" smtClean="0"/>
          </a:br>
          <a:r>
            <a:rPr lang="de-DE" sz="1000" kern="1200" dirty="0" smtClean="0"/>
            <a:t>Berufsausbildung</a:t>
          </a:r>
          <a:endParaRPr lang="de-DE" sz="800" kern="1200" dirty="0"/>
        </a:p>
      </dsp:txBody>
      <dsp:txXfrm>
        <a:off x="50906" y="13700"/>
        <a:ext cx="1127025" cy="424363"/>
      </dsp:txXfrm>
    </dsp:sp>
  </dsp:spTree>
</dsp:drawing>
</file>

<file path=ppt/diagrams/drawing7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8B604F-A667-4808-9261-262E329E7D6B}">
      <dsp:nvSpPr>
        <dsp:cNvPr id="0" name=""/>
        <dsp:cNvSpPr/>
      </dsp:nvSpPr>
      <dsp:spPr>
        <a:xfrm>
          <a:off x="-33135" y="0"/>
          <a:ext cx="246755" cy="246755"/>
        </a:xfrm>
        <a:prstGeom prst="pie">
          <a:avLst>
            <a:gd name="adj1" fmla="val 5400000"/>
            <a:gd name="adj2" fmla="val 1620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5C710D2-2E76-4AC8-8AC8-748BDFD3E6C3}">
      <dsp:nvSpPr>
        <dsp:cNvPr id="0" name=""/>
        <dsp:cNvSpPr/>
      </dsp:nvSpPr>
      <dsp:spPr>
        <a:xfrm>
          <a:off x="0" y="0"/>
          <a:ext cx="1574772" cy="246755"/>
        </a:xfrm>
        <a:prstGeom prst="rect">
          <a:avLst/>
        </a:prstGeom>
        <a:solidFill>
          <a:schemeClr val="bg2">
            <a:alpha val="90000"/>
          </a:schemeClr>
        </a:solidFill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Berufsschulabschluss</a:t>
          </a:r>
          <a:endParaRPr lang="de-DE" sz="1100" b="1" kern="1200" dirty="0"/>
        </a:p>
      </dsp:txBody>
      <dsp:txXfrm>
        <a:off x="0" y="0"/>
        <a:ext cx="1574772" cy="246755"/>
      </dsp:txXfrm>
    </dsp:sp>
  </dsp:spTree>
</dsp:drawing>
</file>

<file path=ppt/diagrams/drawing7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92030F-778E-4954-B125-2224A0BF0D7D}">
      <dsp:nvSpPr>
        <dsp:cNvPr id="0" name=""/>
        <dsp:cNvSpPr/>
      </dsp:nvSpPr>
      <dsp:spPr>
        <a:xfrm>
          <a:off x="143154" y="322"/>
          <a:ext cx="1060403" cy="4497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Schulische </a:t>
          </a:r>
          <a:br>
            <a:rPr lang="de-DE" sz="1000" kern="1200" dirty="0" smtClean="0"/>
          </a:br>
          <a:r>
            <a:rPr lang="de-DE" sz="1000" kern="1200" dirty="0" smtClean="0"/>
            <a:t>Berufsausbildung</a:t>
          </a:r>
          <a:endParaRPr lang="de-DE" sz="1000" kern="1200" dirty="0"/>
        </a:p>
      </dsp:txBody>
      <dsp:txXfrm>
        <a:off x="156328" y="13496"/>
        <a:ext cx="1034055" cy="42343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41444"/>
          <a:ext cx="2658005" cy="403695"/>
        </a:xfrm>
        <a:prstGeom prst="roundRect">
          <a:avLst/>
        </a:prstGeom>
        <a:solidFill>
          <a:srgbClr val="FF9933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hochwertigen und leistungs-orientierten Fachunterricht</a:t>
          </a:r>
        </a:p>
      </dsp:txBody>
      <dsp:txXfrm>
        <a:off x="19707" y="61151"/>
        <a:ext cx="2618591" cy="364281"/>
      </dsp:txXfrm>
    </dsp:sp>
  </dsp:spTree>
</dsp:drawing>
</file>

<file path=ppt/diagrams/drawing8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E9559D-DA83-4F44-84FF-CA345300BAC2}">
      <dsp:nvSpPr>
        <dsp:cNvPr id="0" name=""/>
        <dsp:cNvSpPr/>
      </dsp:nvSpPr>
      <dsp:spPr>
        <a:xfrm>
          <a:off x="0" y="0"/>
          <a:ext cx="225218" cy="225218"/>
        </a:xfrm>
        <a:prstGeom prst="pie">
          <a:avLst>
            <a:gd name="adj1" fmla="val 5400000"/>
            <a:gd name="adj2" fmla="val 1620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10B2C4-3FF5-400D-9B5C-13D601D6433F}">
      <dsp:nvSpPr>
        <dsp:cNvPr id="0" name=""/>
        <dsp:cNvSpPr/>
      </dsp:nvSpPr>
      <dsp:spPr>
        <a:xfrm>
          <a:off x="20940" y="0"/>
          <a:ext cx="1449531" cy="225218"/>
        </a:xfrm>
        <a:prstGeom prst="rect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Fachhochschulreife</a:t>
          </a:r>
          <a:endParaRPr lang="de-DE" sz="900" b="1" kern="1200" dirty="0"/>
        </a:p>
      </dsp:txBody>
      <dsp:txXfrm>
        <a:off x="20940" y="0"/>
        <a:ext cx="1449531" cy="225218"/>
      </dsp:txXfrm>
    </dsp:sp>
  </dsp:spTree>
</dsp:drawing>
</file>

<file path=ppt/diagrams/drawing8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E9559D-DA83-4F44-84FF-CA345300BAC2}">
      <dsp:nvSpPr>
        <dsp:cNvPr id="0" name=""/>
        <dsp:cNvSpPr/>
      </dsp:nvSpPr>
      <dsp:spPr>
        <a:xfrm>
          <a:off x="0" y="0"/>
          <a:ext cx="356295" cy="356295"/>
        </a:xfrm>
        <a:prstGeom prst="pie">
          <a:avLst>
            <a:gd name="adj1" fmla="val 5400000"/>
            <a:gd name="adj2" fmla="val 16200000"/>
          </a:avLst>
        </a:prstGeom>
        <a:solidFill>
          <a:schemeClr val="bg1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10B2C4-3FF5-400D-9B5C-13D601D6433F}">
      <dsp:nvSpPr>
        <dsp:cNvPr id="0" name=""/>
        <dsp:cNvSpPr/>
      </dsp:nvSpPr>
      <dsp:spPr>
        <a:xfrm>
          <a:off x="60976" y="0"/>
          <a:ext cx="1339560" cy="356295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25400" cap="flat" cmpd="sng" algn="ctr">
          <a:solidFill>
            <a:srgbClr val="F4950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Allgemeine Hochschulreife*</a:t>
          </a:r>
          <a:endParaRPr lang="de-DE" sz="900" b="1" kern="1200" dirty="0"/>
        </a:p>
      </dsp:txBody>
      <dsp:txXfrm>
        <a:off x="60976" y="0"/>
        <a:ext cx="1339560" cy="356295"/>
      </dsp:txXfrm>
    </dsp:sp>
  </dsp:spTree>
</dsp:drawing>
</file>

<file path=ppt/diagrams/drawing8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E265BD-3A54-4D8D-A3CE-374E5B877553}">
      <dsp:nvSpPr>
        <dsp:cNvPr id="0" name=""/>
        <dsp:cNvSpPr/>
      </dsp:nvSpPr>
      <dsp:spPr>
        <a:xfrm>
          <a:off x="0" y="2142"/>
          <a:ext cx="1344273" cy="210600"/>
        </a:xfrm>
        <a:prstGeom prst="roundRect">
          <a:avLst/>
        </a:prstGeom>
        <a:solidFill>
          <a:srgbClr val="33993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Höhere Handelsschule</a:t>
          </a:r>
          <a:endParaRPr lang="de-DE" sz="900" kern="1200" dirty="0"/>
        </a:p>
      </dsp:txBody>
      <dsp:txXfrm>
        <a:off x="10281" y="12423"/>
        <a:ext cx="1323711" cy="190038"/>
      </dsp:txXfrm>
    </dsp:sp>
    <dsp:sp modelId="{5A4AC1E8-BC37-497E-A6F8-2260BDDE8496}">
      <dsp:nvSpPr>
        <dsp:cNvPr id="0" name=""/>
        <dsp:cNvSpPr/>
      </dsp:nvSpPr>
      <dsp:spPr>
        <a:xfrm>
          <a:off x="0" y="238663"/>
          <a:ext cx="1344273" cy="210600"/>
        </a:xfrm>
        <a:prstGeom prst="roundRect">
          <a:avLst/>
        </a:prstGeom>
        <a:solidFill>
          <a:srgbClr val="008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Höhere Technikschule</a:t>
          </a:r>
          <a:endParaRPr lang="de-DE" sz="900" kern="1200" dirty="0"/>
        </a:p>
      </dsp:txBody>
      <dsp:txXfrm>
        <a:off x="10281" y="248944"/>
        <a:ext cx="1323711" cy="190038"/>
      </dsp:txXfrm>
    </dsp:sp>
  </dsp:spTree>
</dsp:drawing>
</file>

<file path=ppt/diagrams/drawing8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E265BD-3A54-4D8D-A3CE-374E5B877553}">
      <dsp:nvSpPr>
        <dsp:cNvPr id="0" name=""/>
        <dsp:cNvSpPr/>
      </dsp:nvSpPr>
      <dsp:spPr>
        <a:xfrm>
          <a:off x="0" y="0"/>
          <a:ext cx="1344273" cy="210600"/>
        </a:xfrm>
        <a:prstGeom prst="roundRect">
          <a:avLst/>
        </a:prstGeom>
        <a:solidFill>
          <a:srgbClr val="4085B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Hansa-Kolleg</a:t>
          </a:r>
          <a:endParaRPr lang="de-DE" sz="900" kern="1200" dirty="0"/>
        </a:p>
      </dsp:txBody>
      <dsp:txXfrm>
        <a:off x="10281" y="10281"/>
        <a:ext cx="1323711" cy="190038"/>
      </dsp:txXfrm>
    </dsp:sp>
    <dsp:sp modelId="{5A4AC1E8-BC37-497E-A6F8-2260BDDE8496}">
      <dsp:nvSpPr>
        <dsp:cNvPr id="0" name=""/>
        <dsp:cNvSpPr/>
      </dsp:nvSpPr>
      <dsp:spPr>
        <a:xfrm>
          <a:off x="0" y="239229"/>
          <a:ext cx="1344273" cy="210600"/>
        </a:xfrm>
        <a:prstGeom prst="roundRect">
          <a:avLst/>
        </a:prstGeom>
        <a:solidFill>
          <a:srgbClr val="4085B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Abendgymnasium</a:t>
          </a:r>
          <a:endParaRPr lang="de-DE" sz="900" kern="1200" dirty="0"/>
        </a:p>
      </dsp:txBody>
      <dsp:txXfrm>
        <a:off x="10281" y="249510"/>
        <a:ext cx="1323711" cy="190038"/>
      </dsp:txXfrm>
    </dsp:sp>
    <dsp:sp modelId="{2EE2C953-5109-4E93-A076-FDC68F9C993D}">
      <dsp:nvSpPr>
        <dsp:cNvPr id="0" name=""/>
        <dsp:cNvSpPr/>
      </dsp:nvSpPr>
      <dsp:spPr>
        <a:xfrm>
          <a:off x="0" y="477561"/>
          <a:ext cx="1344273" cy="210600"/>
        </a:xfrm>
        <a:prstGeom prst="roundRect">
          <a:avLst/>
        </a:prstGeom>
        <a:solidFill>
          <a:srgbClr val="4085B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Berufliches Gymnasium</a:t>
          </a:r>
          <a:endParaRPr lang="de-DE" sz="900" kern="1200" dirty="0"/>
        </a:p>
      </dsp:txBody>
      <dsp:txXfrm>
        <a:off x="10281" y="487842"/>
        <a:ext cx="1323711" cy="190038"/>
      </dsp:txXfrm>
    </dsp:sp>
  </dsp:spTree>
</dsp:drawing>
</file>

<file path=ppt/diagrams/drawing8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763A7F-103A-4F67-8691-0120A095BEEB}">
      <dsp:nvSpPr>
        <dsp:cNvPr id="0" name=""/>
        <dsp:cNvSpPr/>
      </dsp:nvSpPr>
      <dsp:spPr>
        <a:xfrm>
          <a:off x="0" y="0"/>
          <a:ext cx="208358" cy="208358"/>
        </a:xfrm>
        <a:prstGeom prst="pie">
          <a:avLst>
            <a:gd name="adj1" fmla="val 5400000"/>
            <a:gd name="adj2" fmla="val 1620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E71CA0-12D7-454E-AD45-EE860C6BFD16}">
      <dsp:nvSpPr>
        <dsp:cNvPr id="0" name=""/>
        <dsp:cNvSpPr/>
      </dsp:nvSpPr>
      <dsp:spPr>
        <a:xfrm>
          <a:off x="104179" y="0"/>
          <a:ext cx="466710" cy="208358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MSA</a:t>
          </a:r>
          <a:endParaRPr lang="de-DE" sz="1300" kern="1200" dirty="0"/>
        </a:p>
      </dsp:txBody>
      <dsp:txXfrm>
        <a:off x="104179" y="0"/>
        <a:ext cx="466710" cy="208358"/>
      </dsp:txXfrm>
    </dsp:sp>
  </dsp:spTree>
</dsp:drawing>
</file>

<file path=ppt/diagrams/drawing8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CE43B1-E114-4EF9-ABFC-52EDAC34ABC1}">
      <dsp:nvSpPr>
        <dsp:cNvPr id="0" name=""/>
        <dsp:cNvSpPr/>
      </dsp:nvSpPr>
      <dsp:spPr>
        <a:xfrm>
          <a:off x="-16664" y="0"/>
          <a:ext cx="224936" cy="224936"/>
        </a:xfrm>
        <a:prstGeom prst="pie">
          <a:avLst>
            <a:gd name="adj1" fmla="val 5400000"/>
            <a:gd name="adj2" fmla="val 1620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BA2483-F5F9-4F95-8AEC-9CA7DDEF8408}">
      <dsp:nvSpPr>
        <dsp:cNvPr id="0" name=""/>
        <dsp:cNvSpPr/>
      </dsp:nvSpPr>
      <dsp:spPr>
        <a:xfrm>
          <a:off x="62474" y="0"/>
          <a:ext cx="500881" cy="224936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e/ESA</a:t>
          </a:r>
          <a:endParaRPr lang="de-DE" sz="1200" kern="1200" dirty="0"/>
        </a:p>
      </dsp:txBody>
      <dsp:txXfrm>
        <a:off x="62474" y="0"/>
        <a:ext cx="500881" cy="224936"/>
      </dsp:txXfrm>
    </dsp:sp>
  </dsp:spTree>
</dsp:drawing>
</file>

<file path=ppt/diagrams/drawing8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763A7F-103A-4F67-8691-0120A095BEEB}">
      <dsp:nvSpPr>
        <dsp:cNvPr id="0" name=""/>
        <dsp:cNvSpPr/>
      </dsp:nvSpPr>
      <dsp:spPr>
        <a:xfrm>
          <a:off x="-15985" y="0"/>
          <a:ext cx="226800" cy="226800"/>
        </a:xfrm>
        <a:prstGeom prst="pie">
          <a:avLst>
            <a:gd name="adj1" fmla="val 5400000"/>
            <a:gd name="adj2" fmla="val 1620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E71CA0-12D7-454E-AD45-EE860C6BFD16}">
      <dsp:nvSpPr>
        <dsp:cNvPr id="0" name=""/>
        <dsp:cNvSpPr/>
      </dsp:nvSpPr>
      <dsp:spPr>
        <a:xfrm>
          <a:off x="65442" y="0"/>
          <a:ext cx="493437" cy="226800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 smtClean="0"/>
            <a:t>MSA</a:t>
          </a:r>
          <a:endParaRPr lang="de-DE" sz="1300" kern="1200" dirty="0"/>
        </a:p>
      </dsp:txBody>
      <dsp:txXfrm>
        <a:off x="65442" y="0"/>
        <a:ext cx="493437" cy="226800"/>
      </dsp:txXfrm>
    </dsp:sp>
  </dsp:spTree>
</dsp:drawing>
</file>

<file path=ppt/diagrams/drawing8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E265BD-3A54-4D8D-A3CE-374E5B877553}">
      <dsp:nvSpPr>
        <dsp:cNvPr id="0" name=""/>
        <dsp:cNvSpPr/>
      </dsp:nvSpPr>
      <dsp:spPr>
        <a:xfrm>
          <a:off x="0" y="0"/>
          <a:ext cx="2511539" cy="285930"/>
        </a:xfrm>
        <a:prstGeom prst="round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Mittlerer Schulabschluss</a:t>
          </a:r>
          <a:endParaRPr lang="de-DE" sz="1000" kern="1200" dirty="0"/>
        </a:p>
      </dsp:txBody>
      <dsp:txXfrm>
        <a:off x="13958" y="13958"/>
        <a:ext cx="2483623" cy="258014"/>
      </dsp:txXfrm>
    </dsp:sp>
    <dsp:sp modelId="{5A4AC1E8-BC37-497E-A6F8-2260BDDE8496}">
      <dsp:nvSpPr>
        <dsp:cNvPr id="0" name=""/>
        <dsp:cNvSpPr/>
      </dsp:nvSpPr>
      <dsp:spPr>
        <a:xfrm>
          <a:off x="0" y="296012"/>
          <a:ext cx="2511539" cy="285930"/>
        </a:xfrm>
        <a:prstGeom prst="round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rPr>
            <a:t>erweiterter / Erster allgemeinbildender Schulabschluss</a:t>
          </a:r>
          <a:endParaRPr lang="de-DE" sz="1000" kern="1200" dirty="0"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a:endParaRPr>
        </a:p>
      </dsp:txBody>
      <dsp:txXfrm>
        <a:off x="13958" y="309970"/>
        <a:ext cx="2483623" cy="258014"/>
      </dsp:txXfrm>
    </dsp:sp>
  </dsp:spTree>
</dsp:drawing>
</file>

<file path=ppt/diagrams/drawing8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2891042" cy="432000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Berücksichtigen Sie die Einschätzung der Grundschule.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1089" y="21089"/>
        <a:ext cx="2848864" cy="389822"/>
      </dsp:txXfrm>
    </dsp:sp>
  </dsp:spTree>
</dsp:drawing>
</file>

<file path=ppt/diagrams/drawing8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994077" cy="421883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Wählen Sie eine Schule, die zu den Stärken und Interessen Ihres Kindes passt.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0595" y="20595"/>
        <a:ext cx="3952887" cy="38069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4147449" cy="215789"/>
        </a:xfrm>
        <a:prstGeom prst="roundRect">
          <a:avLst/>
        </a:prstGeom>
        <a:solidFill>
          <a:srgbClr val="AAC686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umfangreiche</a:t>
          </a:r>
          <a:r>
            <a:rPr lang="de-DE" sz="1500" kern="1200" baseline="0" dirty="0" smtClean="0">
              <a:solidFill>
                <a:schemeClr val="bg1"/>
              </a:solidFill>
            </a:rPr>
            <a:t> Berufs- und Studienorientierung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0534" y="10534"/>
        <a:ext cx="4126381" cy="194721"/>
      </dsp:txXfrm>
    </dsp:sp>
  </dsp:spTree>
</dsp:drawing>
</file>

<file path=ppt/diagrams/drawing9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977558" cy="431299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Beziehen Sie die Erwartungen und Wünsche Ihres Kindes in die Entscheidung ein.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1054" y="21054"/>
        <a:ext cx="3935450" cy="389191"/>
      </dsp:txXfrm>
    </dsp:sp>
  </dsp:spTree>
</dsp:drawing>
</file>

<file path=ppt/diagrams/drawing9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4140544" cy="681898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Sprechen Sie mit Menschen, die in der Schule arbeiten. So bekommen Sie ein Gespür für Atmosphäre und Umgang miteinander. 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288" y="33288"/>
        <a:ext cx="4073968" cy="615322"/>
      </dsp:txXfrm>
    </dsp:sp>
  </dsp:spTree>
</dsp:drawing>
</file>

<file path=ppt/diagrams/drawing9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355601" cy="645629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Bedenken Sie, welche Auswirkungen ein Schulformwechsel nach Klasse 6 für Ihr Kind haben könnte.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1517" y="31517"/>
        <a:ext cx="3292567" cy="582595"/>
      </dsp:txXfrm>
    </dsp:sp>
  </dsp:spTree>
</dsp:drawing>
</file>

<file path=ppt/diagrams/drawing9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2891042" cy="432000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Berücksichtigen Sie die Einschätzung der Grundschule.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1089" y="21089"/>
        <a:ext cx="2848864" cy="389822"/>
      </dsp:txXfrm>
    </dsp:sp>
  </dsp:spTree>
</dsp:drawing>
</file>

<file path=ppt/diagrams/drawing9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994077" cy="421883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Wählen Sie eine Schule, die zu den Stärken und Interessen Ihres Kindes passt.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0595" y="20595"/>
        <a:ext cx="3952887" cy="380693"/>
      </dsp:txXfrm>
    </dsp:sp>
  </dsp:spTree>
</dsp:drawing>
</file>

<file path=ppt/diagrams/drawing9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977558" cy="431299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Beziehen Sie die Erwartungen und Wünsche Ihres Kindes in die Entscheidung ein.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21054" y="21054"/>
        <a:ext cx="3935450" cy="389191"/>
      </dsp:txXfrm>
    </dsp:sp>
  </dsp:spTree>
</dsp:drawing>
</file>

<file path=ppt/diagrams/drawing9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4140544" cy="681898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Sprechen Sie mit Menschen, die in der Schule arbeiten. So bekommen Sie ein Gespür für Atmosphäre und Umgang miteinander. 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3288" y="33288"/>
        <a:ext cx="4073968" cy="615322"/>
      </dsp:txXfrm>
    </dsp:sp>
  </dsp:spTree>
</dsp:drawing>
</file>

<file path=ppt/diagrams/drawing9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3355601" cy="645629"/>
        </a:xfrm>
        <a:prstGeom prst="round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Bedenken Sie, welche Auswirkungen ein Schulformwechsel nach Klasse 6 für Ihr Kind haben könnte.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31517" y="31517"/>
        <a:ext cx="3292567" cy="582595"/>
      </dsp:txXfrm>
    </dsp:sp>
  </dsp:spTree>
</dsp:drawing>
</file>

<file path=ppt/diagrams/drawing9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0"/>
          <a:ext cx="2469081" cy="230686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Höhepunkte im Schulleben 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1261" y="11261"/>
        <a:ext cx="2446559" cy="208164"/>
      </dsp:txXfrm>
    </dsp:sp>
  </dsp:spTree>
</dsp:drawing>
</file>

<file path=ppt/diagrams/drawing9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4AA69-D049-4B71-AE2C-A2059F01FF6F}">
      <dsp:nvSpPr>
        <dsp:cNvPr id="0" name=""/>
        <dsp:cNvSpPr/>
      </dsp:nvSpPr>
      <dsp:spPr>
        <a:xfrm>
          <a:off x="0" y="534"/>
          <a:ext cx="1585063" cy="273478"/>
        </a:xfrm>
        <a:prstGeom prst="roundRect">
          <a:avLst/>
        </a:prstGeom>
        <a:solidFill>
          <a:srgbClr val="7C91C8"/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chilly" dir="t"/>
        </a:scene3d>
        <a:sp3d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 smtClean="0">
              <a:solidFill>
                <a:schemeClr val="bg1"/>
              </a:solidFill>
            </a:rPr>
            <a:t>Ganztagsschule</a:t>
          </a:r>
          <a:endParaRPr lang="de-DE" sz="1500" kern="1200" dirty="0">
            <a:solidFill>
              <a:schemeClr val="bg1"/>
            </a:solidFill>
          </a:endParaRPr>
        </a:p>
      </dsp:txBody>
      <dsp:txXfrm>
        <a:off x="13350" y="13884"/>
        <a:ext cx="1558363" cy="2467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6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4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6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6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67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6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0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7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72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7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6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77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78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79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0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8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8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4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85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86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8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0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5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6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7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8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9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0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5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6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7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8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9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0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5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6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7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8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9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0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5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6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7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8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9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0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5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6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7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8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9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0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5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8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9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0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5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6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7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8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9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DD8AF8-2E56-4547-84F9-96057233AD14}" type="datetimeFigureOut">
              <a:rPr lang="en-GB" smtClean="0"/>
              <a:t>04/11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FC58F0-E75D-4808-B697-027AE36503B0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5595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48D5E8-D97F-4DA3-9E02-1D4E7239C906}" type="datetimeFigureOut">
              <a:rPr lang="de-DE" smtClean="0"/>
              <a:t>04.11.202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EEAA9B-7186-463C-842C-219271E6567B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2022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86537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39795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b="0" u="none" kern="1200" baseline="0" dirty="0" smtClean="0">
              <a:solidFill>
                <a:srgbClr val="FF0000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b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8458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ildplatzhalter 5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bitte den grauen</a:t>
            </a:r>
            <a:br>
              <a:rPr lang="de-DE" dirty="0"/>
            </a:br>
            <a:r>
              <a:rPr lang="de-DE" dirty="0"/>
              <a:t>Platzhalter und wählen dann ein Bild über den Reiter „Einfügen“, „Grafik“ </a:t>
            </a:r>
            <a:br>
              <a:rPr lang="de-DE" dirty="0"/>
            </a:br>
            <a:r>
              <a:rPr lang="de-DE" dirty="0"/>
              <a:t>aus. </a:t>
            </a:r>
            <a:r>
              <a:rPr lang="de-DE" noProof="0" dirty="0"/>
              <a:t>Bitte nach Einfügen des Bildes das Bild in den Hintergrund legen.</a:t>
            </a:r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0" y="3715200"/>
            <a:ext cx="9144000" cy="1428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51" name="Textplatzhalter 5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5961600" cy="37152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9532" y="2067694"/>
            <a:ext cx="3456384" cy="923330"/>
          </a:xfrm>
        </p:spPr>
        <p:txBody>
          <a:bodyPr/>
          <a:lstStyle>
            <a:lvl1pPr marL="0" indent="0" algn="l">
              <a:buNone/>
              <a:defRPr sz="2000" b="0" cap="none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4" name="Freihandform 53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 dirty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0745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5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800" dirty="0">
                <a:solidFill>
                  <a:schemeClr val="accent5"/>
                </a:solidFill>
              </a:rPr>
              <a:t>www.mediaserver.hamburg.de / Andreas Vallbracht</a:t>
            </a:r>
          </a:p>
        </p:txBody>
      </p:sp>
    </p:spTree>
    <p:extLst>
      <p:ext uri="{BB962C8B-B14F-4D97-AF65-F5344CB8AC3E}">
        <p14:creationId xmlns:p14="http://schemas.microsoft.com/office/powerpoint/2010/main" val="26139435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16463" y="1166812"/>
            <a:ext cx="4176712" cy="3349625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Durch klicken auf das Symbol </a:t>
            </a:r>
            <a:br>
              <a:rPr lang="de-DE" noProof="0" dirty="0"/>
            </a:br>
            <a:r>
              <a:rPr lang="de-DE" noProof="0" dirty="0"/>
              <a:t>das gewünschte Bild einfügen</a:t>
            </a:r>
          </a:p>
          <a:p>
            <a:endParaRPr lang="de-DE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4176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52879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11547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4176712" cy="3349625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Durch klicken auf das Symbol </a:t>
            </a:r>
            <a:br>
              <a:rPr lang="de-DE" noProof="0" dirty="0"/>
            </a:br>
            <a:r>
              <a:rPr lang="de-DE" noProof="0" dirty="0"/>
              <a:t>das gewünschte Bild einfügen</a:t>
            </a:r>
          </a:p>
          <a:p>
            <a:endParaRPr lang="de-DE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12260" y="4393327"/>
            <a:ext cx="4176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35637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 / 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2879330"/>
            <a:ext cx="8534400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8534400" cy="1548953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Durch klicken auf das Symbol </a:t>
            </a:r>
            <a:br>
              <a:rPr lang="de-DE" noProof="0" dirty="0"/>
            </a:br>
            <a:r>
              <a:rPr lang="de-DE" noProof="0" dirty="0"/>
              <a:t>das gewünschte Bild einfügen</a:t>
            </a:r>
          </a:p>
          <a:p>
            <a:endParaRPr lang="de-DE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35679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/ Text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16463" y="1166812"/>
            <a:ext cx="4176712" cy="234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Durch klicken auf das Symbol </a:t>
            </a:r>
            <a:br>
              <a:rPr lang="de-DE" noProof="0" dirty="0"/>
            </a:br>
            <a:r>
              <a:rPr lang="de-DE" noProof="0" dirty="0"/>
              <a:t>das gewünschte Bild einfügen</a:t>
            </a:r>
          </a:p>
          <a:p>
            <a:endParaRPr lang="de-DE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857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/ Bild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11547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4176712" cy="234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Durch klicken auf das Symbol </a:t>
            </a:r>
            <a:br>
              <a:rPr lang="de-DE" noProof="0" dirty="0"/>
            </a:br>
            <a:r>
              <a:rPr lang="de-DE" noProof="0" dirty="0"/>
              <a:t>das gewünschte Bild einfügen</a:t>
            </a:r>
          </a:p>
          <a:p>
            <a:endParaRPr lang="de-DE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76683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8534400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33764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75295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9144000" cy="4778322"/>
          </a:xfrm>
          <a:custGeom>
            <a:avLst/>
            <a:gdLst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95565 w 9144000"/>
              <a:gd name="connsiteY5" fmla="*/ 4643322 h 4778322"/>
              <a:gd name="connsiteX6" fmla="*/ 544621 w 9144000"/>
              <a:gd name="connsiteY6" fmla="*/ 4643322 h 4778322"/>
              <a:gd name="connsiteX7" fmla="*/ 513546 w 9144000"/>
              <a:gd name="connsiteY7" fmla="*/ 4643322 h 4778322"/>
              <a:gd name="connsiteX8" fmla="*/ 407 w 9144000"/>
              <a:gd name="connsiteY8" fmla="*/ 4643322 h 4778322"/>
              <a:gd name="connsiteX9" fmla="*/ 0 w 9144000"/>
              <a:gd name="connsiteY9" fmla="*/ 4643322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513546 w 9144000"/>
              <a:gd name="connsiteY6" fmla="*/ 4643322 h 4778322"/>
              <a:gd name="connsiteX7" fmla="*/ 407 w 9144000"/>
              <a:gd name="connsiteY7" fmla="*/ 4643322 h 4778322"/>
              <a:gd name="connsiteX8" fmla="*/ 0 w 9144000"/>
              <a:gd name="connsiteY8" fmla="*/ 4643322 h 4778322"/>
              <a:gd name="connsiteX9" fmla="*/ 0 w 9144000"/>
              <a:gd name="connsiteY9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407 w 9144000"/>
              <a:gd name="connsiteY6" fmla="*/ 4643322 h 4778322"/>
              <a:gd name="connsiteX7" fmla="*/ 0 w 9144000"/>
              <a:gd name="connsiteY7" fmla="*/ 4643322 h 4778322"/>
              <a:gd name="connsiteX8" fmla="*/ 0 w 9144000"/>
              <a:gd name="connsiteY8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407 w 9144000"/>
              <a:gd name="connsiteY5" fmla="*/ 4643322 h 4778322"/>
              <a:gd name="connsiteX6" fmla="*/ 0 w 9144000"/>
              <a:gd name="connsiteY6" fmla="*/ 4643322 h 4778322"/>
              <a:gd name="connsiteX7" fmla="*/ 0 w 9144000"/>
              <a:gd name="connsiteY7" fmla="*/ 0 h 477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4778322">
                <a:moveTo>
                  <a:pt x="0" y="0"/>
                </a:moveTo>
                <a:lnTo>
                  <a:pt x="9144000" y="0"/>
                </a:lnTo>
                <a:lnTo>
                  <a:pt x="9144000" y="4778322"/>
                </a:lnTo>
                <a:lnTo>
                  <a:pt x="854908" y="4778322"/>
                </a:lnTo>
                <a:lnTo>
                  <a:pt x="946800" y="4643322"/>
                </a:lnTo>
                <a:lnTo>
                  <a:pt x="407" y="4643322"/>
                </a:lnTo>
                <a:lnTo>
                  <a:pt x="0" y="4643322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72000">
            <a:noAutofit/>
          </a:bodyPr>
          <a:lstStyle>
            <a:lvl1pPr algn="ctr">
              <a:spcBef>
                <a:spcPts val="0"/>
              </a:spcBef>
              <a:defRPr sz="1200" b="0" baseline="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Durch klicken auf das Symbol das gewünschte Bild einfügen. Bitte nach Einfügen des Bildes das Bild in den Hintergrund legen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504185" y="766547"/>
            <a:ext cx="3960000" cy="1477328"/>
          </a:xfrm>
        </p:spPr>
        <p:txBody>
          <a:bodyPr/>
          <a:lstStyle>
            <a:lvl1pPr>
              <a:spcBef>
                <a:spcPts val="0"/>
              </a:spcBef>
              <a:defRPr sz="32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 KURZE AUSSAG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16205" y="4516438"/>
            <a:ext cx="4172055" cy="123111"/>
          </a:xfrm>
        </p:spPr>
        <p:txBody>
          <a:bodyPr tIns="0" bIns="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53942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2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bitte den grauen</a:t>
            </a:r>
            <a:br>
              <a:rPr lang="de-DE" dirty="0"/>
            </a:br>
            <a:r>
              <a:rPr lang="de-DE" dirty="0"/>
              <a:t>Platzhalter und wählen dann ein Bild über den Reiter „Einfügen“, „Grafik“ </a:t>
            </a:r>
            <a:br>
              <a:rPr lang="de-DE" dirty="0"/>
            </a:br>
            <a:r>
              <a:rPr lang="de-DE" dirty="0"/>
              <a:t>aus. </a:t>
            </a:r>
            <a:r>
              <a:rPr lang="de-DE" noProof="0" dirty="0"/>
              <a:t>Bitte nach Einfügen des Bildes das Bild in den Hintergrund legen.</a:t>
            </a:r>
            <a:endParaRPr lang="de-DE" dirty="0"/>
          </a:p>
        </p:txBody>
      </p:sp>
      <p:sp>
        <p:nvSpPr>
          <p:cNvPr id="30" name="Rechteck 29"/>
          <p:cNvSpPr/>
          <p:nvPr userDrawn="1"/>
        </p:nvSpPr>
        <p:spPr>
          <a:xfrm>
            <a:off x="0" y="3715200"/>
            <a:ext cx="9144000" cy="14282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5961600" cy="37152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Platzhalter für eine kurze Aussage </a:t>
            </a:r>
          </a:p>
        </p:txBody>
      </p:sp>
      <p:sp>
        <p:nvSpPr>
          <p:cNvPr id="32" name="Freihandform 31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 dirty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28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10060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nur_Hamburg_Logo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5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</a:t>
            </a:r>
            <a:br>
              <a:rPr lang="de-DE" dirty="0"/>
            </a:br>
            <a:r>
              <a:rPr lang="de-DE" dirty="0"/>
              <a:t>bitte den grauen Platzhalter und wählen dann ein Bild </a:t>
            </a:r>
            <a:br>
              <a:rPr lang="de-DE" dirty="0"/>
            </a:br>
            <a:r>
              <a:rPr lang="de-DE" dirty="0"/>
              <a:t>über den Reiter „Einfügen“, „Grafik“ aus. </a:t>
            </a:r>
            <a:r>
              <a:rPr lang="de-DE" noProof="0" dirty="0"/>
              <a:t>Bitte nach </a:t>
            </a:r>
            <a:br>
              <a:rPr lang="de-DE" noProof="0" dirty="0"/>
            </a:br>
            <a:r>
              <a:rPr lang="de-DE" noProof="0" dirty="0"/>
              <a:t>Einfügen des Bildes das Bild in den Hintergrund legen.</a:t>
            </a:r>
            <a:endParaRPr lang="de-DE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0" y="3715200"/>
            <a:ext cx="9144000" cy="1428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0" name="Freihandform 29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 dirty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531" y="1289606"/>
            <a:ext cx="7428619" cy="637849"/>
          </a:xfrm>
          <a:solidFill>
            <a:schemeClr val="bg1"/>
          </a:solidFill>
        </p:spPr>
        <p:txBody>
          <a:bodyPr wrap="none" lIns="72000" tIns="72000" rIns="72000" bIns="72000"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3200" baseline="0"/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9532" y="2821553"/>
            <a:ext cx="4021467" cy="453183"/>
          </a:xfrm>
          <a:solidFill>
            <a:schemeClr val="bg1"/>
          </a:solidFill>
        </p:spPr>
        <p:txBody>
          <a:bodyPr wrap="none" lIns="72000" tIns="72000" rIns="72000" bIns="7200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none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 durch klicken bearbeiten</a:t>
            </a:r>
            <a:endParaRPr lang="en-US" dirty="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31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59531" y="523632"/>
            <a:ext cx="7428619" cy="637849"/>
          </a:xfrm>
          <a:solidFill>
            <a:schemeClr val="bg1"/>
          </a:solidFill>
        </p:spPr>
        <p:txBody>
          <a:bodyPr wrap="none" lIns="72000" tIns="72000" rIns="72000" bIns="72000"/>
          <a:lstStyle>
            <a:lvl1pPr>
              <a:defRPr sz="3200" b="0" cap="all" baseline="0"/>
            </a:lvl1pPr>
          </a:lstStyle>
          <a:p>
            <a:pPr lvl="0"/>
            <a:r>
              <a:rPr lang="de-DE" dirty="0"/>
              <a:t>Titel durch Klicken bearbeiten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59531" y="2055580"/>
            <a:ext cx="7428619" cy="637849"/>
          </a:xfrm>
          <a:solidFill>
            <a:schemeClr val="bg1"/>
          </a:solidFill>
        </p:spPr>
        <p:txBody>
          <a:bodyPr wrap="none" lIns="72000" tIns="72000" rIns="72000" bIns="72000"/>
          <a:lstStyle>
            <a:lvl1pPr>
              <a:defRPr sz="3200" b="0" cap="all" baseline="0"/>
            </a:lvl1pPr>
          </a:lstStyle>
          <a:p>
            <a:pPr lvl="0"/>
            <a:r>
              <a:rPr lang="de-DE" dirty="0"/>
              <a:t>Titel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1432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1zeilige 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269546" y="3183723"/>
            <a:ext cx="6675794" cy="454827"/>
          </a:xfrm>
          <a:ln>
            <a:noFill/>
          </a:ln>
        </p:spPr>
        <p:txBody>
          <a:bodyPr lIns="36000"/>
          <a:lstStyle>
            <a:lvl1pPr>
              <a:defRPr cap="all">
                <a:solidFill>
                  <a:srgbClr val="003063"/>
                </a:solidFill>
              </a:defRPr>
            </a:lvl1pPr>
          </a:lstStyle>
          <a:p>
            <a:r>
              <a:rPr lang="de-DE" dirty="0"/>
              <a:t>Titel 1-zeilig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66772" y="4386776"/>
            <a:ext cx="5087722" cy="470151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0"/>
              </a:spcBef>
              <a:buFontTx/>
              <a:buNone/>
              <a:defRPr sz="1800" baseline="0">
                <a:solidFill>
                  <a:schemeClr val="bg1"/>
                </a:solidFill>
                <a:latin typeface=""/>
              </a:defRPr>
            </a:lvl1pPr>
            <a:lvl2pPr marL="0" indent="0"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"/>
              </a:defRPr>
            </a:lvl2pPr>
            <a:lvl3pPr marL="0" indent="0"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"/>
              </a:defRPr>
            </a:lvl3pPr>
            <a:lvl4pPr marL="0" indent="0"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"/>
              </a:defRPr>
            </a:lvl4pPr>
            <a:lvl5pPr marL="0" indent="0"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Maximal 2-zeili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72" y="4856928"/>
            <a:ext cx="2603500" cy="188084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0"/>
              </a:spcBef>
              <a:buFontTx/>
              <a:buNone/>
              <a:defRPr sz="9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buFontTx/>
              <a:buNone/>
              <a:defRPr sz="900">
                <a:solidFill>
                  <a:schemeClr val="bg1"/>
                </a:solidFill>
                <a:latin typeface="HamburgSans"/>
              </a:defRPr>
            </a:lvl2pPr>
            <a:lvl3pPr marL="0" indent="0">
              <a:spcBef>
                <a:spcPts val="0"/>
              </a:spcBef>
              <a:buFontTx/>
              <a:buNone/>
              <a:defRPr sz="900">
                <a:solidFill>
                  <a:schemeClr val="bg1"/>
                </a:solidFill>
                <a:latin typeface="HamburgSans"/>
              </a:defRPr>
            </a:lvl3pPr>
            <a:lvl4pPr marL="0" indent="0">
              <a:spcBef>
                <a:spcPts val="0"/>
              </a:spcBef>
              <a:buFontTx/>
              <a:buNone/>
              <a:defRPr sz="900">
                <a:solidFill>
                  <a:schemeClr val="bg1"/>
                </a:solidFill>
                <a:latin typeface="HamburgSans"/>
              </a:defRPr>
            </a:lvl4pPr>
            <a:lvl5pPr marL="0" indent="0">
              <a:spcBef>
                <a:spcPts val="0"/>
              </a:spcBef>
              <a:buFontTx/>
              <a:buNone/>
              <a:defRPr sz="900">
                <a:solidFill>
                  <a:schemeClr val="bg1"/>
                </a:solidFill>
                <a:latin typeface="HamburgSans"/>
              </a:defRPr>
            </a:lvl5pPr>
          </a:lstStyle>
          <a:p>
            <a:pPr lvl="0"/>
            <a:r>
              <a:rPr lang="de-DE" dirty="0"/>
              <a:t>Datum eintragen</a:t>
            </a:r>
          </a:p>
        </p:txBody>
      </p:sp>
    </p:spTree>
    <p:extLst>
      <p:ext uri="{BB962C8B-B14F-4D97-AF65-F5344CB8AC3E}">
        <p14:creationId xmlns:p14="http://schemas.microsoft.com/office/powerpoint/2010/main" val="8128147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2zeilige 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cap="all">
                <a:solidFill>
                  <a:srgbClr val="E10019"/>
                </a:solidFill>
              </a:defRPr>
            </a:lvl1pPr>
          </a:lstStyle>
          <a:p>
            <a:r>
              <a:rPr lang="de-DE" dirty="0"/>
              <a:t>Titel 2-zeili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823570" y="3711672"/>
            <a:ext cx="7320431" cy="45327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36000" tIns="36000" rIns="0" bIns="0" rtlCol="0" anchor="t" anchorCtr="0">
            <a:noAutofit/>
          </a:bodyPr>
          <a:lstStyle>
            <a:lvl1pPr marL="126000" indent="0">
              <a:spcBef>
                <a:spcPts val="0"/>
              </a:spcBef>
              <a:buFontTx/>
              <a:buNone/>
              <a:defRPr lang="de-DE" sz="3300" b="1" cap="all" dirty="0">
                <a:solidFill>
                  <a:srgbClr val="003063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6000" lvl="0">
              <a:spcBef>
                <a:spcPts val="0"/>
              </a:spcBef>
              <a:buNone/>
            </a:pPr>
            <a:r>
              <a:rPr lang="de-DE" dirty="0"/>
              <a:t>2. </a:t>
            </a:r>
            <a:r>
              <a:rPr lang="de-DE" dirty="0" err="1"/>
              <a:t>zeil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66772" y="4386776"/>
            <a:ext cx="5087722" cy="470151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0"/>
              </a:spcBef>
              <a:buFontTx/>
              <a:buNone/>
              <a:defRPr sz="1800" baseline="0">
                <a:solidFill>
                  <a:schemeClr val="bg1"/>
                </a:solidFill>
                <a:latin typeface=""/>
              </a:defRPr>
            </a:lvl1pPr>
            <a:lvl2pPr marL="0" indent="0"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"/>
              </a:defRPr>
            </a:lvl2pPr>
            <a:lvl3pPr marL="0" indent="0"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"/>
              </a:defRPr>
            </a:lvl3pPr>
            <a:lvl4pPr marL="0" indent="0"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"/>
              </a:defRPr>
            </a:lvl4pPr>
            <a:lvl5pPr marL="0" indent="0"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Maximal 2-zeili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66772" y="4856928"/>
            <a:ext cx="2603500" cy="188084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0"/>
              </a:spcBef>
              <a:buFontTx/>
              <a:buNone/>
              <a:defRPr sz="9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buFontTx/>
              <a:buNone/>
              <a:defRPr sz="900">
                <a:solidFill>
                  <a:schemeClr val="bg1"/>
                </a:solidFill>
                <a:latin typeface="HamburgSans"/>
              </a:defRPr>
            </a:lvl2pPr>
            <a:lvl3pPr marL="0" indent="0">
              <a:spcBef>
                <a:spcPts val="0"/>
              </a:spcBef>
              <a:buFontTx/>
              <a:buNone/>
              <a:defRPr sz="900">
                <a:solidFill>
                  <a:schemeClr val="bg1"/>
                </a:solidFill>
                <a:latin typeface="HamburgSans"/>
              </a:defRPr>
            </a:lvl3pPr>
            <a:lvl4pPr marL="0" indent="0">
              <a:spcBef>
                <a:spcPts val="0"/>
              </a:spcBef>
              <a:buFontTx/>
              <a:buNone/>
              <a:defRPr sz="900">
                <a:solidFill>
                  <a:schemeClr val="bg1"/>
                </a:solidFill>
                <a:latin typeface="HamburgSans"/>
              </a:defRPr>
            </a:lvl4pPr>
            <a:lvl5pPr marL="0" indent="0">
              <a:spcBef>
                <a:spcPts val="0"/>
              </a:spcBef>
              <a:buFontTx/>
              <a:buNone/>
              <a:defRPr sz="900">
                <a:solidFill>
                  <a:schemeClr val="bg1"/>
                </a:solidFill>
                <a:latin typeface="HamburgSans"/>
              </a:defRPr>
            </a:lvl5pPr>
          </a:lstStyle>
          <a:p>
            <a:pPr lvl="0"/>
            <a:r>
              <a:rPr lang="de-DE" dirty="0"/>
              <a:t>Datum eintragen</a:t>
            </a:r>
          </a:p>
        </p:txBody>
      </p:sp>
    </p:spTree>
    <p:extLst>
      <p:ext uri="{BB962C8B-B14F-4D97-AF65-F5344CB8AC3E}">
        <p14:creationId xmlns:p14="http://schemas.microsoft.com/office/powerpoint/2010/main" val="3722201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979612" y="206438"/>
            <a:ext cx="6906253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97971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7971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2</a:t>
            </a:r>
            <a:endParaRPr lang="en-US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97971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3</a:t>
            </a:r>
            <a:endParaRPr lang="en-US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97971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4</a:t>
            </a:r>
            <a:endParaRPr lang="en-US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97971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5</a:t>
            </a:r>
            <a:endParaRPr lang="en-US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97971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6</a:t>
            </a:r>
            <a:endParaRPr lang="en-US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447764" y="900448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447764" y="1361299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447764" y="1822150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2447764" y="2283001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2447764" y="2743852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2447764" y="3204704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24" name="Gruppieren 23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25" name="Freihandform 2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27" name="Gruppieren 26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28" name="Freihandform 2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9" name="Freihandform 2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1" name="Freihandform 3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32" name="Gruppieren 31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33" name="Freihandform 3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4" name="Freihandform 33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35" name="Gruppieren 34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36" name="Freihandform 35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7" name="Freihandform 36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40" name="Freihandform 39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 dirty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59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mit vielen Pun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9532" y="206438"/>
            <a:ext cx="8526334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5953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5953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2</a:t>
            </a:r>
            <a:endParaRPr lang="en-US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953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3</a:t>
            </a:r>
            <a:endParaRPr lang="en-US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953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4</a:t>
            </a:r>
            <a:endParaRPr lang="en-US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953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5</a:t>
            </a:r>
            <a:endParaRPr lang="en-US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5953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6</a:t>
            </a:r>
            <a:endParaRPr lang="en-US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27584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827584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827584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7584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827584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7584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709910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7</a:t>
            </a:r>
            <a:endParaRPr lang="en-US" dirty="0"/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709910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8</a:t>
            </a:r>
            <a:endParaRPr lang="en-US" dirty="0"/>
          </a:p>
        </p:txBody>
      </p:sp>
      <p:sp>
        <p:nvSpPr>
          <p:cNvPr id="26" name="Textplatzhalter 1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709910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9</a:t>
            </a:r>
            <a:endParaRPr lang="en-US" dirty="0"/>
          </a:p>
        </p:txBody>
      </p:sp>
      <p:sp>
        <p:nvSpPr>
          <p:cNvPr id="27" name="Textplatzhalter 1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709910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0</a:t>
            </a:r>
            <a:endParaRPr lang="en-US" dirty="0"/>
          </a:p>
        </p:txBody>
      </p:sp>
      <p:sp>
        <p:nvSpPr>
          <p:cNvPr id="28" name="Textplatzhalter 1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709910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1</a:t>
            </a:r>
            <a:endParaRPr lang="en-US" dirty="0"/>
          </a:p>
        </p:txBody>
      </p:sp>
      <p:sp>
        <p:nvSpPr>
          <p:cNvPr id="29" name="Textplatzhalter 1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4709910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2</a:t>
            </a:r>
            <a:endParaRPr lang="en-US" dirty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35" hasCustomPrompt="1"/>
          </p:nvPr>
        </p:nvSpPr>
        <p:spPr>
          <a:xfrm>
            <a:off x="5177962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1" name="Textplatzhalt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5177962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2" name="Textplatzhalter 10"/>
          <p:cNvSpPr>
            <a:spLocks noGrp="1"/>
          </p:cNvSpPr>
          <p:nvPr>
            <p:ph type="body" sz="quarter" idx="37" hasCustomPrompt="1"/>
          </p:nvPr>
        </p:nvSpPr>
        <p:spPr>
          <a:xfrm>
            <a:off x="5177962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5177962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10"/>
          <p:cNvSpPr>
            <a:spLocks noGrp="1"/>
          </p:cNvSpPr>
          <p:nvPr>
            <p:ph type="body" sz="quarter" idx="39" hasCustomPrompt="1"/>
          </p:nvPr>
        </p:nvSpPr>
        <p:spPr>
          <a:xfrm>
            <a:off x="5177962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5" name="Textplatzhalt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5177962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36" name="Gruppieren 35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39" name="Gruppieren 38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40" name="Freihandform 39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1" name="Freihandform 40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2" name="Freihandform 41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44" name="Gruppieren 43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45" name="Freihandform 4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6" name="Freihandform 4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47" name="Gruppieren 46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48" name="Freihandform 4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9" name="Freihandform 4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0" name="Freihandform 4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1" name="Freihandform 5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52" name="Freihandform 51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 dirty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976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904148" y="1138204"/>
            <a:ext cx="2981718" cy="2981718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1599642"/>
            <a:ext cx="5041317" cy="923330"/>
          </a:xfrm>
        </p:spPr>
        <p:txBody>
          <a:bodyPr anchor="ctr" anchorCtr="0"/>
          <a:lstStyle>
            <a:lvl1pPr>
              <a:spcBef>
                <a:spcPts val="0"/>
              </a:spcBef>
              <a:defRPr sz="30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1" name="Freihandform 10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7" name="Freihandform 26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28" name="Freihandform 27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 dirty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9130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1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de-DE" dirty="0">
                <a:solidFill>
                  <a:schemeClr val="accent5"/>
                </a:solidFill>
              </a:rPr>
              <a:t>www.mediaserver.hamburg.de / Maxim Schulz</a:t>
            </a:r>
          </a:p>
        </p:txBody>
      </p:sp>
    </p:spTree>
    <p:extLst>
      <p:ext uri="{BB962C8B-B14F-4D97-AF65-F5344CB8AC3E}">
        <p14:creationId xmlns:p14="http://schemas.microsoft.com/office/powerpoint/2010/main" val="4040076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2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de-DE" dirty="0">
                <a:solidFill>
                  <a:schemeClr val="accent5"/>
                </a:solidFill>
              </a:rPr>
              <a:t>www.mediaserver.hamburg.de / Jörg Modrow</a:t>
            </a:r>
          </a:p>
        </p:txBody>
      </p:sp>
    </p:spTree>
    <p:extLst>
      <p:ext uri="{BB962C8B-B14F-4D97-AF65-F5344CB8AC3E}">
        <p14:creationId xmlns:p14="http://schemas.microsoft.com/office/powerpoint/2010/main" val="14287202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3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4757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4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solidFill>
            <a:schemeClr val="bg2"/>
          </a:solidFill>
        </p:spPr>
        <p:txBody>
          <a:bodyPr/>
          <a:lstStyle/>
          <a:p>
            <a:endParaRPr lang="de-DE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800" dirty="0">
                <a:solidFill>
                  <a:schemeClr val="accent5"/>
                </a:solidFill>
              </a:rPr>
              <a:t>www.mediaserver.hamburg.de / Datenland Architektursimulation / Erik Recke</a:t>
            </a:r>
          </a:p>
        </p:txBody>
      </p:sp>
    </p:spTree>
    <p:extLst>
      <p:ext uri="{BB962C8B-B14F-4D97-AF65-F5344CB8AC3E}">
        <p14:creationId xmlns:p14="http://schemas.microsoft.com/office/powerpoint/2010/main" val="7465609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9.emf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19896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" name="think-cell Folie" r:id="rId23" imgW="344" imgH="344" progId="TCLayout.ActiveDocument.1">
                  <p:embed/>
                </p:oleObj>
              </mc:Choice>
              <mc:Fallback>
                <p:oleObj name="think-cell Folie" r:id="rId2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/>
          <p:cNvSpPr/>
          <p:nvPr/>
        </p:nvSpPr>
        <p:spPr>
          <a:xfrm>
            <a:off x="0" y="4778322"/>
            <a:ext cx="9144000" cy="3651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7" name="Picture 4" descr="Z:\Kunden\Hamburg_Marketing\Bildmaterial\Logos_Gesellschaften\HamburgLogo_Weiße_Typo.wmf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804739" y="4856832"/>
            <a:ext cx="1090121" cy="203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58775" y="279134"/>
            <a:ext cx="8529485" cy="72019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1110450"/>
            <a:ext cx="8529485" cy="137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103140" y="4667572"/>
            <a:ext cx="1926000" cy="218473"/>
          </a:xfrm>
          <a:prstGeom prst="rect">
            <a:avLst/>
          </a:prstGeom>
          <a:solidFill>
            <a:schemeClr val="bg2"/>
          </a:solidFill>
        </p:spPr>
        <p:txBody>
          <a:bodyPr vert="horz" wrap="none" lIns="36000" tIns="39600" rIns="36000" bIns="39600" rtlCol="0" anchor="ctr">
            <a:noAutofit/>
          </a:bodyPr>
          <a:lstStyle>
            <a:lvl1pPr algn="l">
              <a:defRPr sz="900" cap="none" baseline="0"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3" name="Freihandform 1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5" name="Freihandform 1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21" name="Freihandform 20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2" name="Freihandform 21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3" name="Freihandform 22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34" name="Freihandform 33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5" name="Freihandform 3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0" name="Freihandform 39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28" name="Freihandform 27"/>
          <p:cNvSpPr>
            <a:spLocks noChangeAspect="1"/>
          </p:cNvSpPr>
          <p:nvPr/>
        </p:nvSpPr>
        <p:spPr bwMode="gray">
          <a:xfrm>
            <a:off x="0" y="4643322"/>
            <a:ext cx="946800" cy="270000"/>
          </a:xfrm>
          <a:custGeom>
            <a:avLst/>
            <a:gdLst/>
            <a:ahLst/>
            <a:cxnLst/>
            <a:rect l="l" t="t" r="r" b="b"/>
            <a:pathLst>
              <a:path w="946800" h="270000">
                <a:moveTo>
                  <a:pt x="0" y="0"/>
                </a:moveTo>
                <a:lnTo>
                  <a:pt x="407" y="0"/>
                </a:lnTo>
                <a:lnTo>
                  <a:pt x="513546" y="0"/>
                </a:lnTo>
                <a:lnTo>
                  <a:pt x="544621" y="0"/>
                </a:lnTo>
                <a:lnTo>
                  <a:pt x="595565" y="0"/>
                </a:lnTo>
                <a:lnTo>
                  <a:pt x="946800" y="0"/>
                </a:lnTo>
                <a:lnTo>
                  <a:pt x="790687" y="229347"/>
                </a:lnTo>
                <a:cubicBezTo>
                  <a:pt x="773288" y="253081"/>
                  <a:pt x="752401" y="268960"/>
                  <a:pt x="719303" y="270000"/>
                </a:cubicBezTo>
                <a:lnTo>
                  <a:pt x="595565" y="270000"/>
                </a:lnTo>
                <a:lnTo>
                  <a:pt x="544621" y="270000"/>
                </a:lnTo>
                <a:lnTo>
                  <a:pt x="513546" y="270000"/>
                </a:lnTo>
                <a:lnTo>
                  <a:pt x="407" y="270000"/>
                </a:lnTo>
                <a:lnTo>
                  <a:pt x="0" y="270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 dirty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798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1" r:id="rId2"/>
    <p:sldLayoutId id="2147483663" r:id="rId3"/>
    <p:sldLayoutId id="2147483677" r:id="rId4"/>
    <p:sldLayoutId id="2147483678" r:id="rId5"/>
    <p:sldLayoutId id="2147483685" r:id="rId6"/>
    <p:sldLayoutId id="2147483712" r:id="rId7"/>
    <p:sldLayoutId id="2147483686" r:id="rId8"/>
    <p:sldLayoutId id="2147483687" r:id="rId9"/>
    <p:sldLayoutId id="2147483688" r:id="rId10"/>
    <p:sldLayoutId id="2147483684" r:id="rId11"/>
    <p:sldLayoutId id="2147483689" r:id="rId12"/>
    <p:sldLayoutId id="2147483690" r:id="rId13"/>
    <p:sldLayoutId id="2147483691" r:id="rId14"/>
    <p:sldLayoutId id="2147483692" r:id="rId15"/>
    <p:sldLayoutId id="2147483707" r:id="rId16"/>
    <p:sldLayoutId id="2147483693" r:id="rId17"/>
    <p:sldLayoutId id="2147483667" r:id="rId18"/>
    <p:sldLayoutId id="2147483710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itchFamily="34" charset="0"/>
        <a:buNone/>
        <a:defRPr sz="16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800"/>
        </a:spcBef>
        <a:buFont typeface="Arial" pitchFamily="34" charset="0"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269875" indent="-269875" algn="l" defTabSz="914400" rtl="0" eaLnBrk="1" latinLnBrk="0" hangingPunct="1">
        <a:spcBef>
          <a:spcPts val="400"/>
        </a:spcBef>
        <a:buClr>
          <a:schemeClr val="accent1"/>
        </a:buClr>
        <a:buSzPct val="150000"/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538163" indent="-268288" algn="l" defTabSz="914400" rtl="0" eaLnBrk="1" latinLnBrk="0" hangingPunct="1">
        <a:spcBef>
          <a:spcPts val="200"/>
        </a:spcBef>
        <a:buClr>
          <a:schemeClr val="accent1"/>
        </a:buClr>
        <a:buSzPct val="150000"/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08038" indent="-269875" algn="l" defTabSz="914400" rtl="0" eaLnBrk="1" latinLnBrk="0" hangingPunct="1">
        <a:spcBef>
          <a:spcPts val="200"/>
        </a:spcBef>
        <a:buClr>
          <a:schemeClr val="accent1"/>
        </a:buClr>
        <a:buSzPct val="150000"/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LWM_05_003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673"/>
          <a:stretch/>
        </p:blipFill>
        <p:spPr>
          <a:xfrm>
            <a:off x="-2210" y="0"/>
            <a:ext cx="9146210" cy="4936725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-2210" y="3409342"/>
            <a:ext cx="9144000" cy="1734158"/>
          </a:xfrm>
          <a:prstGeom prst="rect">
            <a:avLst/>
          </a:prstGeom>
          <a:solidFill>
            <a:srgbClr val="0030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dirty="0">
              <a:solidFill>
                <a:prstClr val="white"/>
              </a:solidFill>
            </a:endParaRPr>
          </a:p>
        </p:txBody>
      </p:sp>
      <p:pic>
        <p:nvPicPr>
          <p:cNvPr id="10" name="Bild 9" descr="HH_RGB_negativ_Welle_70prz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8903" y="4493419"/>
            <a:ext cx="1085100" cy="527037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608" r="-1"/>
          <a:stretch/>
        </p:blipFill>
        <p:spPr>
          <a:xfrm>
            <a:off x="-2210" y="3178806"/>
            <a:ext cx="1827910" cy="465387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71638" y="3186112"/>
            <a:ext cx="6665148" cy="4595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none" lIns="0" tIns="3600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1806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</p:sldLayoutIdLst>
  <p:hf hdr="0" ftr="0" dt="0"/>
  <p:txStyles>
    <p:titleStyle>
      <a:lvl1pPr marL="126000" algn="l" defTabSz="457200" rtl="0" eaLnBrk="1" latinLnBrk="0" hangingPunct="1">
        <a:spcBef>
          <a:spcPts val="0"/>
        </a:spcBef>
        <a:buNone/>
        <a:defRPr sz="3300" b="1" kern="1200">
          <a:solidFill>
            <a:srgbClr val="003063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diagramLayout" Target="../diagrams/layout61.xml"/><Relationship Id="rId18" Type="http://schemas.openxmlformats.org/officeDocument/2006/relationships/diagramLayout" Target="../diagrams/layout62.xml"/><Relationship Id="rId26" Type="http://schemas.microsoft.com/office/2007/relationships/diagramDrawing" Target="../diagrams/drawing63.xml"/><Relationship Id="rId39" Type="http://schemas.openxmlformats.org/officeDocument/2006/relationships/diagramData" Target="../diagrams/data66.xml"/><Relationship Id="rId21" Type="http://schemas.microsoft.com/office/2007/relationships/diagramDrawing" Target="../diagrams/drawing62.xml"/><Relationship Id="rId34" Type="http://schemas.openxmlformats.org/officeDocument/2006/relationships/diagramData" Target="../diagrams/data65.xml"/><Relationship Id="rId42" Type="http://schemas.openxmlformats.org/officeDocument/2006/relationships/diagramColors" Target="../diagrams/colors66.xml"/><Relationship Id="rId47" Type="http://schemas.openxmlformats.org/officeDocument/2006/relationships/diagramColors" Target="../diagrams/colors67.xml"/><Relationship Id="rId50" Type="http://schemas.openxmlformats.org/officeDocument/2006/relationships/diagramData" Target="../diagrams/data68.xml"/><Relationship Id="rId55" Type="http://schemas.openxmlformats.org/officeDocument/2006/relationships/diagramData" Target="../diagrams/data69.xml"/><Relationship Id="rId63" Type="http://schemas.openxmlformats.org/officeDocument/2006/relationships/diagramColors" Target="../diagrams/colors70.xml"/><Relationship Id="rId68" Type="http://schemas.openxmlformats.org/officeDocument/2006/relationships/diagramColors" Target="../diagrams/colors71.xml"/><Relationship Id="rId76" Type="http://schemas.openxmlformats.org/officeDocument/2006/relationships/diagramLayout" Target="../diagrams/layout73.xml"/><Relationship Id="rId7" Type="http://schemas.openxmlformats.org/officeDocument/2006/relationships/diagramLayout" Target="../diagrams/layout60.xml"/><Relationship Id="rId71" Type="http://schemas.openxmlformats.org/officeDocument/2006/relationships/diagramLayout" Target="../diagrams/layout72.xml"/><Relationship Id="rId2" Type="http://schemas.openxmlformats.org/officeDocument/2006/relationships/notesSlide" Target="../notesSlides/notesSlide10.xml"/><Relationship Id="rId16" Type="http://schemas.microsoft.com/office/2007/relationships/diagramDrawing" Target="../diagrams/drawing61.xml"/><Relationship Id="rId29" Type="http://schemas.openxmlformats.org/officeDocument/2006/relationships/diagramQuickStyle" Target="../diagrams/quickStyle64.xml"/><Relationship Id="rId11" Type="http://schemas.openxmlformats.org/officeDocument/2006/relationships/image" Target="../media/image23.png"/><Relationship Id="rId24" Type="http://schemas.openxmlformats.org/officeDocument/2006/relationships/diagramQuickStyle" Target="../diagrams/quickStyle63.xml"/><Relationship Id="rId32" Type="http://schemas.openxmlformats.org/officeDocument/2006/relationships/image" Target="../media/image25.png"/><Relationship Id="rId37" Type="http://schemas.openxmlformats.org/officeDocument/2006/relationships/diagramColors" Target="../diagrams/colors65.xml"/><Relationship Id="rId40" Type="http://schemas.openxmlformats.org/officeDocument/2006/relationships/diagramLayout" Target="../diagrams/layout66.xml"/><Relationship Id="rId45" Type="http://schemas.openxmlformats.org/officeDocument/2006/relationships/diagramLayout" Target="../diagrams/layout67.xml"/><Relationship Id="rId53" Type="http://schemas.openxmlformats.org/officeDocument/2006/relationships/diagramColors" Target="../diagrams/colors68.xml"/><Relationship Id="rId58" Type="http://schemas.openxmlformats.org/officeDocument/2006/relationships/diagramColors" Target="../diagrams/colors69.xml"/><Relationship Id="rId66" Type="http://schemas.openxmlformats.org/officeDocument/2006/relationships/diagramLayout" Target="../diagrams/layout71.xml"/><Relationship Id="rId74" Type="http://schemas.microsoft.com/office/2007/relationships/diagramDrawing" Target="../diagrams/drawing72.xml"/><Relationship Id="rId79" Type="http://schemas.microsoft.com/office/2007/relationships/diagramDrawing" Target="../diagrams/drawing73.xml"/><Relationship Id="rId5" Type="http://schemas.openxmlformats.org/officeDocument/2006/relationships/image" Target="../media/image15.png"/><Relationship Id="rId61" Type="http://schemas.openxmlformats.org/officeDocument/2006/relationships/diagramLayout" Target="../diagrams/layout70.xml"/><Relationship Id="rId10" Type="http://schemas.microsoft.com/office/2007/relationships/diagramDrawing" Target="../diagrams/drawing60.xml"/><Relationship Id="rId19" Type="http://schemas.openxmlformats.org/officeDocument/2006/relationships/diagramQuickStyle" Target="../diagrams/quickStyle62.xml"/><Relationship Id="rId31" Type="http://schemas.microsoft.com/office/2007/relationships/diagramDrawing" Target="../diagrams/drawing64.xml"/><Relationship Id="rId44" Type="http://schemas.openxmlformats.org/officeDocument/2006/relationships/diagramData" Target="../diagrams/data67.xml"/><Relationship Id="rId52" Type="http://schemas.openxmlformats.org/officeDocument/2006/relationships/diagramQuickStyle" Target="../diagrams/quickStyle68.xml"/><Relationship Id="rId60" Type="http://schemas.openxmlformats.org/officeDocument/2006/relationships/diagramData" Target="../diagrams/data70.xml"/><Relationship Id="rId65" Type="http://schemas.openxmlformats.org/officeDocument/2006/relationships/diagramData" Target="../diagrams/data71.xml"/><Relationship Id="rId73" Type="http://schemas.openxmlformats.org/officeDocument/2006/relationships/diagramColors" Target="../diagrams/colors72.xml"/><Relationship Id="rId78" Type="http://schemas.openxmlformats.org/officeDocument/2006/relationships/diagramColors" Target="../diagrams/colors73.xml"/><Relationship Id="rId4" Type="http://schemas.openxmlformats.org/officeDocument/2006/relationships/image" Target="../media/image14.png"/><Relationship Id="rId9" Type="http://schemas.openxmlformats.org/officeDocument/2006/relationships/diagramColors" Target="../diagrams/colors60.xml"/><Relationship Id="rId14" Type="http://schemas.openxmlformats.org/officeDocument/2006/relationships/diagramQuickStyle" Target="../diagrams/quickStyle61.xml"/><Relationship Id="rId22" Type="http://schemas.openxmlformats.org/officeDocument/2006/relationships/diagramData" Target="../diagrams/data63.xml"/><Relationship Id="rId27" Type="http://schemas.openxmlformats.org/officeDocument/2006/relationships/diagramData" Target="../diagrams/data64.xml"/><Relationship Id="rId30" Type="http://schemas.openxmlformats.org/officeDocument/2006/relationships/diagramColors" Target="../diagrams/colors64.xml"/><Relationship Id="rId35" Type="http://schemas.openxmlformats.org/officeDocument/2006/relationships/diagramLayout" Target="../diagrams/layout65.xml"/><Relationship Id="rId43" Type="http://schemas.microsoft.com/office/2007/relationships/diagramDrawing" Target="../diagrams/drawing66.xml"/><Relationship Id="rId48" Type="http://schemas.microsoft.com/office/2007/relationships/diagramDrawing" Target="../diagrams/drawing67.xml"/><Relationship Id="rId56" Type="http://schemas.openxmlformats.org/officeDocument/2006/relationships/diagramLayout" Target="../diagrams/layout69.xml"/><Relationship Id="rId64" Type="http://schemas.microsoft.com/office/2007/relationships/diagramDrawing" Target="../diagrams/drawing70.xml"/><Relationship Id="rId69" Type="http://schemas.microsoft.com/office/2007/relationships/diagramDrawing" Target="../diagrams/drawing71.xml"/><Relationship Id="rId77" Type="http://schemas.openxmlformats.org/officeDocument/2006/relationships/diagramQuickStyle" Target="../diagrams/quickStyle73.xml"/><Relationship Id="rId8" Type="http://schemas.openxmlformats.org/officeDocument/2006/relationships/diagramQuickStyle" Target="../diagrams/quickStyle60.xml"/><Relationship Id="rId51" Type="http://schemas.openxmlformats.org/officeDocument/2006/relationships/diagramLayout" Target="../diagrams/layout68.xml"/><Relationship Id="rId72" Type="http://schemas.openxmlformats.org/officeDocument/2006/relationships/diagramQuickStyle" Target="../diagrams/quickStyle72.xml"/><Relationship Id="rId3" Type="http://schemas.openxmlformats.org/officeDocument/2006/relationships/image" Target="../media/image24.png"/><Relationship Id="rId12" Type="http://schemas.openxmlformats.org/officeDocument/2006/relationships/diagramData" Target="../diagrams/data61.xml"/><Relationship Id="rId17" Type="http://schemas.openxmlformats.org/officeDocument/2006/relationships/diagramData" Target="../diagrams/data62.xml"/><Relationship Id="rId25" Type="http://schemas.openxmlformats.org/officeDocument/2006/relationships/diagramColors" Target="../diagrams/colors63.xml"/><Relationship Id="rId33" Type="http://schemas.openxmlformats.org/officeDocument/2006/relationships/image" Target="../media/image26.png"/><Relationship Id="rId38" Type="http://schemas.microsoft.com/office/2007/relationships/diagramDrawing" Target="../diagrams/drawing65.xml"/><Relationship Id="rId46" Type="http://schemas.openxmlformats.org/officeDocument/2006/relationships/diagramQuickStyle" Target="../diagrams/quickStyle67.xml"/><Relationship Id="rId59" Type="http://schemas.microsoft.com/office/2007/relationships/diagramDrawing" Target="../diagrams/drawing69.xml"/><Relationship Id="rId67" Type="http://schemas.openxmlformats.org/officeDocument/2006/relationships/diagramQuickStyle" Target="../diagrams/quickStyle71.xml"/><Relationship Id="rId20" Type="http://schemas.openxmlformats.org/officeDocument/2006/relationships/diagramColors" Target="../diagrams/colors62.xml"/><Relationship Id="rId41" Type="http://schemas.openxmlformats.org/officeDocument/2006/relationships/diagramQuickStyle" Target="../diagrams/quickStyle66.xml"/><Relationship Id="rId54" Type="http://schemas.microsoft.com/office/2007/relationships/diagramDrawing" Target="../diagrams/drawing68.xml"/><Relationship Id="rId62" Type="http://schemas.openxmlformats.org/officeDocument/2006/relationships/diagramQuickStyle" Target="../diagrams/quickStyle70.xml"/><Relationship Id="rId70" Type="http://schemas.openxmlformats.org/officeDocument/2006/relationships/diagramData" Target="../diagrams/data72.xml"/><Relationship Id="rId75" Type="http://schemas.openxmlformats.org/officeDocument/2006/relationships/diagramData" Target="../diagrams/data73.xml"/><Relationship Id="rId1" Type="http://schemas.openxmlformats.org/officeDocument/2006/relationships/slideLayout" Target="../slideLayouts/slideLayout3.xml"/><Relationship Id="rId6" Type="http://schemas.openxmlformats.org/officeDocument/2006/relationships/diagramData" Target="../diagrams/data60.xml"/><Relationship Id="rId15" Type="http://schemas.openxmlformats.org/officeDocument/2006/relationships/diagramColors" Target="../diagrams/colors61.xml"/><Relationship Id="rId23" Type="http://schemas.openxmlformats.org/officeDocument/2006/relationships/diagramLayout" Target="../diagrams/layout63.xml"/><Relationship Id="rId28" Type="http://schemas.openxmlformats.org/officeDocument/2006/relationships/diagramLayout" Target="../diagrams/layout64.xml"/><Relationship Id="rId36" Type="http://schemas.openxmlformats.org/officeDocument/2006/relationships/diagramQuickStyle" Target="../diagrams/quickStyle65.xml"/><Relationship Id="rId49" Type="http://schemas.openxmlformats.org/officeDocument/2006/relationships/image" Target="../media/image27.png"/><Relationship Id="rId57" Type="http://schemas.openxmlformats.org/officeDocument/2006/relationships/diagramQuickStyle" Target="../diagrams/quickStyle69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diagramLayout" Target="../diagrams/layout75.xml"/><Relationship Id="rId18" Type="http://schemas.openxmlformats.org/officeDocument/2006/relationships/diagramLayout" Target="../diagrams/layout76.xml"/><Relationship Id="rId26" Type="http://schemas.microsoft.com/office/2007/relationships/diagramDrawing" Target="../diagrams/drawing77.xml"/><Relationship Id="rId39" Type="http://schemas.openxmlformats.org/officeDocument/2006/relationships/diagramData" Target="../diagrams/data80.xml"/><Relationship Id="rId21" Type="http://schemas.microsoft.com/office/2007/relationships/diagramDrawing" Target="../diagrams/drawing76.xml"/><Relationship Id="rId34" Type="http://schemas.openxmlformats.org/officeDocument/2006/relationships/diagramData" Target="../diagrams/data79.xml"/><Relationship Id="rId42" Type="http://schemas.openxmlformats.org/officeDocument/2006/relationships/diagramColors" Target="../diagrams/colors80.xml"/><Relationship Id="rId47" Type="http://schemas.openxmlformats.org/officeDocument/2006/relationships/diagramColors" Target="../diagrams/colors81.xml"/><Relationship Id="rId50" Type="http://schemas.openxmlformats.org/officeDocument/2006/relationships/diagramData" Target="../diagrams/data82.xml"/><Relationship Id="rId55" Type="http://schemas.openxmlformats.org/officeDocument/2006/relationships/diagramData" Target="../diagrams/data83.xml"/><Relationship Id="rId63" Type="http://schemas.openxmlformats.org/officeDocument/2006/relationships/diagramColors" Target="../diagrams/colors84.xml"/><Relationship Id="rId68" Type="http://schemas.openxmlformats.org/officeDocument/2006/relationships/diagramColors" Target="../diagrams/colors85.xml"/><Relationship Id="rId76" Type="http://schemas.openxmlformats.org/officeDocument/2006/relationships/diagramLayout" Target="../diagrams/layout87.xml"/><Relationship Id="rId7" Type="http://schemas.microsoft.com/office/2007/relationships/diagramDrawing" Target="../diagrams/drawing74.xml"/><Relationship Id="rId71" Type="http://schemas.openxmlformats.org/officeDocument/2006/relationships/diagramLayout" Target="../diagrams/layout86.xml"/><Relationship Id="rId2" Type="http://schemas.openxmlformats.org/officeDocument/2006/relationships/notesSlide" Target="../notesSlides/notesSlide11.xml"/><Relationship Id="rId16" Type="http://schemas.microsoft.com/office/2007/relationships/diagramDrawing" Target="../diagrams/drawing75.xml"/><Relationship Id="rId29" Type="http://schemas.openxmlformats.org/officeDocument/2006/relationships/diagramQuickStyle" Target="../diagrams/quickStyle78.xml"/><Relationship Id="rId11" Type="http://schemas.openxmlformats.org/officeDocument/2006/relationships/image" Target="../media/image29.png"/><Relationship Id="rId24" Type="http://schemas.openxmlformats.org/officeDocument/2006/relationships/diagramQuickStyle" Target="../diagrams/quickStyle77.xml"/><Relationship Id="rId32" Type="http://schemas.openxmlformats.org/officeDocument/2006/relationships/image" Target="../media/image25.png"/><Relationship Id="rId37" Type="http://schemas.openxmlformats.org/officeDocument/2006/relationships/diagramColors" Target="../diagrams/colors79.xml"/><Relationship Id="rId40" Type="http://schemas.openxmlformats.org/officeDocument/2006/relationships/diagramLayout" Target="../diagrams/layout80.xml"/><Relationship Id="rId45" Type="http://schemas.openxmlformats.org/officeDocument/2006/relationships/diagramLayout" Target="../diagrams/layout81.xml"/><Relationship Id="rId53" Type="http://schemas.openxmlformats.org/officeDocument/2006/relationships/diagramColors" Target="../diagrams/colors82.xml"/><Relationship Id="rId58" Type="http://schemas.openxmlformats.org/officeDocument/2006/relationships/diagramColors" Target="../diagrams/colors83.xml"/><Relationship Id="rId66" Type="http://schemas.openxmlformats.org/officeDocument/2006/relationships/diagramLayout" Target="../diagrams/layout85.xml"/><Relationship Id="rId74" Type="http://schemas.microsoft.com/office/2007/relationships/diagramDrawing" Target="../diagrams/drawing86.xml"/><Relationship Id="rId79" Type="http://schemas.microsoft.com/office/2007/relationships/diagramDrawing" Target="../diagrams/drawing87.xml"/><Relationship Id="rId5" Type="http://schemas.openxmlformats.org/officeDocument/2006/relationships/diagramQuickStyle" Target="../diagrams/quickStyle74.xml"/><Relationship Id="rId61" Type="http://schemas.openxmlformats.org/officeDocument/2006/relationships/diagramLayout" Target="../diagrams/layout84.xml"/><Relationship Id="rId10" Type="http://schemas.microsoft.com/office/2007/relationships/hdphoto" Target="../media/hdphoto1.wdp"/><Relationship Id="rId19" Type="http://schemas.openxmlformats.org/officeDocument/2006/relationships/diagramQuickStyle" Target="../diagrams/quickStyle76.xml"/><Relationship Id="rId31" Type="http://schemas.microsoft.com/office/2007/relationships/diagramDrawing" Target="../diagrams/drawing78.xml"/><Relationship Id="rId44" Type="http://schemas.openxmlformats.org/officeDocument/2006/relationships/diagramData" Target="../diagrams/data81.xml"/><Relationship Id="rId52" Type="http://schemas.openxmlformats.org/officeDocument/2006/relationships/diagramQuickStyle" Target="../diagrams/quickStyle82.xml"/><Relationship Id="rId60" Type="http://schemas.openxmlformats.org/officeDocument/2006/relationships/diagramData" Target="../diagrams/data84.xml"/><Relationship Id="rId65" Type="http://schemas.openxmlformats.org/officeDocument/2006/relationships/diagramData" Target="../diagrams/data85.xml"/><Relationship Id="rId73" Type="http://schemas.openxmlformats.org/officeDocument/2006/relationships/diagramColors" Target="../diagrams/colors86.xml"/><Relationship Id="rId78" Type="http://schemas.openxmlformats.org/officeDocument/2006/relationships/diagramColors" Target="../diagrams/colors87.xml"/><Relationship Id="rId4" Type="http://schemas.openxmlformats.org/officeDocument/2006/relationships/diagramLayout" Target="../diagrams/layout74.xml"/><Relationship Id="rId9" Type="http://schemas.openxmlformats.org/officeDocument/2006/relationships/image" Target="../media/image28.png"/><Relationship Id="rId14" Type="http://schemas.openxmlformats.org/officeDocument/2006/relationships/diagramQuickStyle" Target="../diagrams/quickStyle75.xml"/><Relationship Id="rId22" Type="http://schemas.openxmlformats.org/officeDocument/2006/relationships/diagramData" Target="../diagrams/data77.xml"/><Relationship Id="rId27" Type="http://schemas.openxmlformats.org/officeDocument/2006/relationships/diagramData" Target="../diagrams/data78.xml"/><Relationship Id="rId30" Type="http://schemas.openxmlformats.org/officeDocument/2006/relationships/diagramColors" Target="../diagrams/colors78.xml"/><Relationship Id="rId35" Type="http://schemas.openxmlformats.org/officeDocument/2006/relationships/diagramLayout" Target="../diagrams/layout79.xml"/><Relationship Id="rId43" Type="http://schemas.microsoft.com/office/2007/relationships/diagramDrawing" Target="../diagrams/drawing80.xml"/><Relationship Id="rId48" Type="http://schemas.microsoft.com/office/2007/relationships/diagramDrawing" Target="../diagrams/drawing81.xml"/><Relationship Id="rId56" Type="http://schemas.openxmlformats.org/officeDocument/2006/relationships/diagramLayout" Target="../diagrams/layout83.xml"/><Relationship Id="rId64" Type="http://schemas.microsoft.com/office/2007/relationships/diagramDrawing" Target="../diagrams/drawing84.xml"/><Relationship Id="rId69" Type="http://schemas.microsoft.com/office/2007/relationships/diagramDrawing" Target="../diagrams/drawing85.xml"/><Relationship Id="rId77" Type="http://schemas.openxmlformats.org/officeDocument/2006/relationships/diagramQuickStyle" Target="../diagrams/quickStyle87.xml"/><Relationship Id="rId8" Type="http://schemas.openxmlformats.org/officeDocument/2006/relationships/image" Target="../media/image23.png"/><Relationship Id="rId51" Type="http://schemas.openxmlformats.org/officeDocument/2006/relationships/diagramLayout" Target="../diagrams/layout82.xml"/><Relationship Id="rId72" Type="http://schemas.openxmlformats.org/officeDocument/2006/relationships/diagramQuickStyle" Target="../diagrams/quickStyle86.xml"/><Relationship Id="rId3" Type="http://schemas.openxmlformats.org/officeDocument/2006/relationships/diagramData" Target="../diagrams/data74.xml"/><Relationship Id="rId12" Type="http://schemas.openxmlformats.org/officeDocument/2006/relationships/diagramData" Target="../diagrams/data75.xml"/><Relationship Id="rId17" Type="http://schemas.openxmlformats.org/officeDocument/2006/relationships/diagramData" Target="../diagrams/data76.xml"/><Relationship Id="rId25" Type="http://schemas.openxmlformats.org/officeDocument/2006/relationships/diagramColors" Target="../diagrams/colors77.xml"/><Relationship Id="rId33" Type="http://schemas.openxmlformats.org/officeDocument/2006/relationships/image" Target="../media/image26.png"/><Relationship Id="rId38" Type="http://schemas.microsoft.com/office/2007/relationships/diagramDrawing" Target="../diagrams/drawing79.xml"/><Relationship Id="rId46" Type="http://schemas.openxmlformats.org/officeDocument/2006/relationships/diagramQuickStyle" Target="../diagrams/quickStyle81.xml"/><Relationship Id="rId59" Type="http://schemas.microsoft.com/office/2007/relationships/diagramDrawing" Target="../diagrams/drawing83.xml"/><Relationship Id="rId67" Type="http://schemas.openxmlformats.org/officeDocument/2006/relationships/diagramQuickStyle" Target="../diagrams/quickStyle85.xml"/><Relationship Id="rId20" Type="http://schemas.openxmlformats.org/officeDocument/2006/relationships/diagramColors" Target="../diagrams/colors76.xml"/><Relationship Id="rId41" Type="http://schemas.openxmlformats.org/officeDocument/2006/relationships/diagramQuickStyle" Target="../diagrams/quickStyle80.xml"/><Relationship Id="rId54" Type="http://schemas.microsoft.com/office/2007/relationships/diagramDrawing" Target="../diagrams/drawing82.xml"/><Relationship Id="rId62" Type="http://schemas.openxmlformats.org/officeDocument/2006/relationships/diagramQuickStyle" Target="../diagrams/quickStyle84.xml"/><Relationship Id="rId70" Type="http://schemas.openxmlformats.org/officeDocument/2006/relationships/diagramData" Target="../diagrams/data86.xml"/><Relationship Id="rId75" Type="http://schemas.openxmlformats.org/officeDocument/2006/relationships/diagramData" Target="../diagrams/data87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74.xml"/><Relationship Id="rId15" Type="http://schemas.openxmlformats.org/officeDocument/2006/relationships/diagramColors" Target="../diagrams/colors75.xml"/><Relationship Id="rId23" Type="http://schemas.openxmlformats.org/officeDocument/2006/relationships/diagramLayout" Target="../diagrams/layout77.xml"/><Relationship Id="rId28" Type="http://schemas.openxmlformats.org/officeDocument/2006/relationships/diagramLayout" Target="../diagrams/layout78.xml"/><Relationship Id="rId36" Type="http://schemas.openxmlformats.org/officeDocument/2006/relationships/diagramQuickStyle" Target="../diagrams/quickStyle79.xml"/><Relationship Id="rId49" Type="http://schemas.openxmlformats.org/officeDocument/2006/relationships/image" Target="../media/image27.png"/><Relationship Id="rId57" Type="http://schemas.openxmlformats.org/officeDocument/2006/relationships/diagramQuickStyle" Target="../diagrams/quickStyle8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18" Type="http://schemas.openxmlformats.org/officeDocument/2006/relationships/image" Target="../media/image43.png"/><Relationship Id="rId26" Type="http://schemas.openxmlformats.org/officeDocument/2006/relationships/diagramData" Target="../diagrams/data89.xml"/><Relationship Id="rId39" Type="http://schemas.openxmlformats.org/officeDocument/2006/relationships/diagramColors" Target="../diagrams/colors91.xml"/><Relationship Id="rId3" Type="http://schemas.openxmlformats.org/officeDocument/2006/relationships/image" Target="../media/image28.png"/><Relationship Id="rId21" Type="http://schemas.openxmlformats.org/officeDocument/2006/relationships/diagramData" Target="../diagrams/data88.xml"/><Relationship Id="rId34" Type="http://schemas.openxmlformats.org/officeDocument/2006/relationships/diagramColors" Target="../diagrams/colors90.xml"/><Relationship Id="rId42" Type="http://schemas.openxmlformats.org/officeDocument/2006/relationships/diagramLayout" Target="../diagrams/layout92.xml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5" Type="http://schemas.microsoft.com/office/2007/relationships/diagramDrawing" Target="../diagrams/drawing88.xml"/><Relationship Id="rId33" Type="http://schemas.openxmlformats.org/officeDocument/2006/relationships/diagramQuickStyle" Target="../diagrams/quickStyle90.xml"/><Relationship Id="rId38" Type="http://schemas.openxmlformats.org/officeDocument/2006/relationships/diagramQuickStyle" Target="../diagrams/quickStyle91.xml"/><Relationship Id="rId46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41.png"/><Relationship Id="rId20" Type="http://schemas.microsoft.com/office/2007/relationships/hdphoto" Target="../media/hdphoto2.wdp"/><Relationship Id="rId29" Type="http://schemas.openxmlformats.org/officeDocument/2006/relationships/diagramColors" Target="../diagrams/colors89.xml"/><Relationship Id="rId41" Type="http://schemas.openxmlformats.org/officeDocument/2006/relationships/diagramData" Target="../diagrams/data9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24" Type="http://schemas.openxmlformats.org/officeDocument/2006/relationships/diagramColors" Target="../diagrams/colors88.xml"/><Relationship Id="rId32" Type="http://schemas.openxmlformats.org/officeDocument/2006/relationships/diagramLayout" Target="../diagrams/layout90.xml"/><Relationship Id="rId37" Type="http://schemas.openxmlformats.org/officeDocument/2006/relationships/diagramLayout" Target="../diagrams/layout91.xml"/><Relationship Id="rId40" Type="http://schemas.microsoft.com/office/2007/relationships/diagramDrawing" Target="../diagrams/drawing91.xml"/><Relationship Id="rId45" Type="http://schemas.microsoft.com/office/2007/relationships/diagramDrawing" Target="../diagrams/drawing92.xml"/><Relationship Id="rId5" Type="http://schemas.openxmlformats.org/officeDocument/2006/relationships/image" Target="../media/image30.png"/><Relationship Id="rId15" Type="http://schemas.openxmlformats.org/officeDocument/2006/relationships/image" Target="../media/image40.png"/><Relationship Id="rId23" Type="http://schemas.openxmlformats.org/officeDocument/2006/relationships/diagramQuickStyle" Target="../diagrams/quickStyle88.xml"/><Relationship Id="rId28" Type="http://schemas.openxmlformats.org/officeDocument/2006/relationships/diagramQuickStyle" Target="../diagrams/quickStyle89.xml"/><Relationship Id="rId36" Type="http://schemas.openxmlformats.org/officeDocument/2006/relationships/diagramData" Target="../diagrams/data91.xml"/><Relationship Id="rId10" Type="http://schemas.openxmlformats.org/officeDocument/2006/relationships/image" Target="../media/image35.png"/><Relationship Id="rId19" Type="http://schemas.openxmlformats.org/officeDocument/2006/relationships/image" Target="../media/image44.png"/><Relationship Id="rId31" Type="http://schemas.openxmlformats.org/officeDocument/2006/relationships/diagramData" Target="../diagrams/data90.xml"/><Relationship Id="rId44" Type="http://schemas.openxmlformats.org/officeDocument/2006/relationships/diagramColors" Target="../diagrams/colors92.xml"/><Relationship Id="rId4" Type="http://schemas.microsoft.com/office/2007/relationships/hdphoto" Target="../media/hdphoto1.wdp"/><Relationship Id="rId9" Type="http://schemas.openxmlformats.org/officeDocument/2006/relationships/image" Target="../media/image34.png"/><Relationship Id="rId14" Type="http://schemas.openxmlformats.org/officeDocument/2006/relationships/image" Target="../media/image39.png"/><Relationship Id="rId22" Type="http://schemas.openxmlformats.org/officeDocument/2006/relationships/diagramLayout" Target="../diagrams/layout88.xml"/><Relationship Id="rId27" Type="http://schemas.openxmlformats.org/officeDocument/2006/relationships/diagramLayout" Target="../diagrams/layout89.xml"/><Relationship Id="rId30" Type="http://schemas.microsoft.com/office/2007/relationships/diagramDrawing" Target="../diagrams/drawing89.xml"/><Relationship Id="rId35" Type="http://schemas.microsoft.com/office/2007/relationships/diagramDrawing" Target="../diagrams/drawing90.xml"/><Relationship Id="rId43" Type="http://schemas.openxmlformats.org/officeDocument/2006/relationships/diagramQuickStyle" Target="../diagrams/quickStyle92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8.png"/><Relationship Id="rId18" Type="http://schemas.openxmlformats.org/officeDocument/2006/relationships/diagramQuickStyle" Target="../diagrams/quickStyle93.xml"/><Relationship Id="rId26" Type="http://schemas.openxmlformats.org/officeDocument/2006/relationships/diagramData" Target="../diagrams/data95.xml"/><Relationship Id="rId39" Type="http://schemas.openxmlformats.org/officeDocument/2006/relationships/diagramColors" Target="../diagrams/colors97.xml"/><Relationship Id="rId21" Type="http://schemas.openxmlformats.org/officeDocument/2006/relationships/diagramData" Target="../diagrams/data94.xml"/><Relationship Id="rId34" Type="http://schemas.openxmlformats.org/officeDocument/2006/relationships/diagramColors" Target="../diagrams/colors96.xml"/><Relationship Id="rId42" Type="http://schemas.microsoft.com/office/2007/relationships/hdphoto" Target="../media/hdphoto2.wdp"/><Relationship Id="rId47" Type="http://schemas.microsoft.com/office/2007/relationships/diagramDrawing" Target="../diagrams/drawing98.xml"/><Relationship Id="rId50" Type="http://schemas.openxmlformats.org/officeDocument/2006/relationships/diagramQuickStyle" Target="../diagrams/quickStyle99.xml"/><Relationship Id="rId55" Type="http://schemas.openxmlformats.org/officeDocument/2006/relationships/diagramQuickStyle" Target="../diagrams/quickStyle100.xml"/><Relationship Id="rId63" Type="http://schemas.openxmlformats.org/officeDocument/2006/relationships/diagramData" Target="../diagrams/data102.xml"/><Relationship Id="rId68" Type="http://schemas.openxmlformats.org/officeDocument/2006/relationships/image" Target="../media/image11.png"/><Relationship Id="rId7" Type="http://schemas.openxmlformats.org/officeDocument/2006/relationships/image" Target="../media/image37.png"/><Relationship Id="rId71" Type="http://schemas.openxmlformats.org/officeDocument/2006/relationships/diagramQuickStyle" Target="../diagrams/quickStyle103.xml"/><Relationship Id="rId2" Type="http://schemas.openxmlformats.org/officeDocument/2006/relationships/notesSlide" Target="../notesSlides/notesSlide13.xml"/><Relationship Id="rId16" Type="http://schemas.openxmlformats.org/officeDocument/2006/relationships/diagramData" Target="../diagrams/data93.xml"/><Relationship Id="rId29" Type="http://schemas.openxmlformats.org/officeDocument/2006/relationships/diagramColors" Target="../diagrams/colors95.xml"/><Relationship Id="rId11" Type="http://schemas.openxmlformats.org/officeDocument/2006/relationships/image" Target="../media/image40.png"/><Relationship Id="rId24" Type="http://schemas.openxmlformats.org/officeDocument/2006/relationships/diagramColors" Target="../diagrams/colors94.xml"/><Relationship Id="rId32" Type="http://schemas.openxmlformats.org/officeDocument/2006/relationships/diagramLayout" Target="../diagrams/layout96.xml"/><Relationship Id="rId37" Type="http://schemas.openxmlformats.org/officeDocument/2006/relationships/diagramLayout" Target="../diagrams/layout97.xml"/><Relationship Id="rId40" Type="http://schemas.microsoft.com/office/2007/relationships/diagramDrawing" Target="../diagrams/drawing97.xml"/><Relationship Id="rId45" Type="http://schemas.openxmlformats.org/officeDocument/2006/relationships/diagramQuickStyle" Target="../diagrams/quickStyle98.xml"/><Relationship Id="rId53" Type="http://schemas.openxmlformats.org/officeDocument/2006/relationships/diagramData" Target="../diagrams/data100.xml"/><Relationship Id="rId58" Type="http://schemas.openxmlformats.org/officeDocument/2006/relationships/diagramData" Target="../diagrams/data101.xml"/><Relationship Id="rId66" Type="http://schemas.openxmlformats.org/officeDocument/2006/relationships/diagramColors" Target="../diagrams/colors102.xml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23" Type="http://schemas.openxmlformats.org/officeDocument/2006/relationships/diagramQuickStyle" Target="../diagrams/quickStyle94.xml"/><Relationship Id="rId28" Type="http://schemas.openxmlformats.org/officeDocument/2006/relationships/diagramQuickStyle" Target="../diagrams/quickStyle95.xml"/><Relationship Id="rId36" Type="http://schemas.openxmlformats.org/officeDocument/2006/relationships/diagramData" Target="../diagrams/data97.xml"/><Relationship Id="rId49" Type="http://schemas.openxmlformats.org/officeDocument/2006/relationships/diagramLayout" Target="../diagrams/layout99.xml"/><Relationship Id="rId57" Type="http://schemas.microsoft.com/office/2007/relationships/diagramDrawing" Target="../diagrams/drawing100.xml"/><Relationship Id="rId61" Type="http://schemas.openxmlformats.org/officeDocument/2006/relationships/diagramColors" Target="../diagrams/colors101.xml"/><Relationship Id="rId10" Type="http://schemas.openxmlformats.org/officeDocument/2006/relationships/image" Target="../media/image39.png"/><Relationship Id="rId19" Type="http://schemas.openxmlformats.org/officeDocument/2006/relationships/diagramColors" Target="../diagrams/colors93.xml"/><Relationship Id="rId31" Type="http://schemas.openxmlformats.org/officeDocument/2006/relationships/diagramData" Target="../diagrams/data96.xml"/><Relationship Id="rId44" Type="http://schemas.openxmlformats.org/officeDocument/2006/relationships/diagramLayout" Target="../diagrams/layout98.xml"/><Relationship Id="rId52" Type="http://schemas.microsoft.com/office/2007/relationships/diagramDrawing" Target="../diagrams/drawing99.xml"/><Relationship Id="rId60" Type="http://schemas.openxmlformats.org/officeDocument/2006/relationships/diagramQuickStyle" Target="../diagrams/quickStyle101.xml"/><Relationship Id="rId65" Type="http://schemas.openxmlformats.org/officeDocument/2006/relationships/diagramQuickStyle" Target="../diagrams/quickStyle102.xml"/><Relationship Id="rId73" Type="http://schemas.microsoft.com/office/2007/relationships/diagramDrawing" Target="../diagrams/drawing103.xml"/><Relationship Id="rId4" Type="http://schemas.openxmlformats.org/officeDocument/2006/relationships/image" Target="../media/image31.png"/><Relationship Id="rId9" Type="http://schemas.openxmlformats.org/officeDocument/2006/relationships/image" Target="../media/image35.png"/><Relationship Id="rId14" Type="http://schemas.openxmlformats.org/officeDocument/2006/relationships/image" Target="../media/image41.png"/><Relationship Id="rId22" Type="http://schemas.openxmlformats.org/officeDocument/2006/relationships/diagramLayout" Target="../diagrams/layout94.xml"/><Relationship Id="rId27" Type="http://schemas.openxmlformats.org/officeDocument/2006/relationships/diagramLayout" Target="../diagrams/layout95.xml"/><Relationship Id="rId30" Type="http://schemas.microsoft.com/office/2007/relationships/diagramDrawing" Target="../diagrams/drawing95.xml"/><Relationship Id="rId35" Type="http://schemas.microsoft.com/office/2007/relationships/diagramDrawing" Target="../diagrams/drawing96.xml"/><Relationship Id="rId43" Type="http://schemas.openxmlformats.org/officeDocument/2006/relationships/diagramData" Target="../diagrams/data98.xml"/><Relationship Id="rId48" Type="http://schemas.openxmlformats.org/officeDocument/2006/relationships/diagramData" Target="../diagrams/data99.xml"/><Relationship Id="rId56" Type="http://schemas.openxmlformats.org/officeDocument/2006/relationships/diagramColors" Target="../diagrams/colors100.xml"/><Relationship Id="rId64" Type="http://schemas.openxmlformats.org/officeDocument/2006/relationships/diagramLayout" Target="../diagrams/layout102.xml"/><Relationship Id="rId69" Type="http://schemas.openxmlformats.org/officeDocument/2006/relationships/diagramData" Target="../diagrams/data103.xml"/><Relationship Id="rId8" Type="http://schemas.openxmlformats.org/officeDocument/2006/relationships/image" Target="../media/image34.png"/><Relationship Id="rId51" Type="http://schemas.openxmlformats.org/officeDocument/2006/relationships/diagramColors" Target="../diagrams/colors99.xml"/><Relationship Id="rId72" Type="http://schemas.openxmlformats.org/officeDocument/2006/relationships/diagramColors" Target="../diagrams/colors103.xml"/><Relationship Id="rId3" Type="http://schemas.openxmlformats.org/officeDocument/2006/relationships/image" Target="../media/image30.png"/><Relationship Id="rId12" Type="http://schemas.openxmlformats.org/officeDocument/2006/relationships/image" Target="../media/image36.png"/><Relationship Id="rId17" Type="http://schemas.openxmlformats.org/officeDocument/2006/relationships/diagramLayout" Target="../diagrams/layout93.xml"/><Relationship Id="rId25" Type="http://schemas.microsoft.com/office/2007/relationships/diagramDrawing" Target="../diagrams/drawing94.xml"/><Relationship Id="rId33" Type="http://schemas.openxmlformats.org/officeDocument/2006/relationships/diagramQuickStyle" Target="../diagrams/quickStyle96.xml"/><Relationship Id="rId38" Type="http://schemas.openxmlformats.org/officeDocument/2006/relationships/diagramQuickStyle" Target="../diagrams/quickStyle97.xml"/><Relationship Id="rId46" Type="http://schemas.openxmlformats.org/officeDocument/2006/relationships/diagramColors" Target="../diagrams/colors98.xml"/><Relationship Id="rId59" Type="http://schemas.openxmlformats.org/officeDocument/2006/relationships/diagramLayout" Target="../diagrams/layout101.xml"/><Relationship Id="rId67" Type="http://schemas.microsoft.com/office/2007/relationships/diagramDrawing" Target="../diagrams/drawing102.xml"/><Relationship Id="rId20" Type="http://schemas.microsoft.com/office/2007/relationships/diagramDrawing" Target="../diagrams/drawing93.xml"/><Relationship Id="rId41" Type="http://schemas.openxmlformats.org/officeDocument/2006/relationships/image" Target="../media/image44.png"/><Relationship Id="rId54" Type="http://schemas.openxmlformats.org/officeDocument/2006/relationships/diagramLayout" Target="../diagrams/layout100.xml"/><Relationship Id="rId62" Type="http://schemas.microsoft.com/office/2007/relationships/diagramDrawing" Target="../diagrams/drawing101.xml"/><Relationship Id="rId70" Type="http://schemas.openxmlformats.org/officeDocument/2006/relationships/diagramLayout" Target="../diagrams/layout10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26" Type="http://schemas.openxmlformats.org/officeDocument/2006/relationships/diagramColors" Target="../diagrams/colors105.xml"/><Relationship Id="rId21" Type="http://schemas.openxmlformats.org/officeDocument/2006/relationships/image" Target="../media/image44.png"/><Relationship Id="rId34" Type="http://schemas.openxmlformats.org/officeDocument/2006/relationships/diagramLayout" Target="../diagrams/layout107.xml"/><Relationship Id="rId42" Type="http://schemas.microsoft.com/office/2007/relationships/diagramDrawing" Target="../diagrams/drawing108.xml"/><Relationship Id="rId47" Type="http://schemas.microsoft.com/office/2007/relationships/diagramDrawing" Target="../diagrams/drawing109.xml"/><Relationship Id="rId50" Type="http://schemas.openxmlformats.org/officeDocument/2006/relationships/diagramLayout" Target="../diagrams/layout110.xml"/><Relationship Id="rId55" Type="http://schemas.openxmlformats.org/officeDocument/2006/relationships/diagramLayout" Target="../diagrams/layout111.xml"/><Relationship Id="rId63" Type="http://schemas.microsoft.com/office/2007/relationships/diagramDrawing" Target="../diagrams/drawing112.xml"/><Relationship Id="rId68" Type="http://schemas.microsoft.com/office/2007/relationships/diagramDrawing" Target="../diagrams/drawing113.xml"/><Relationship Id="rId76" Type="http://schemas.openxmlformats.org/officeDocument/2006/relationships/diagramQuickStyle" Target="../diagrams/quickStyle115.xml"/><Relationship Id="rId84" Type="http://schemas.openxmlformats.org/officeDocument/2006/relationships/diagramData" Target="../diagrams/data117.xml"/><Relationship Id="rId89" Type="http://schemas.openxmlformats.org/officeDocument/2006/relationships/diagramData" Target="../diagrams/data118.xml"/><Relationship Id="rId97" Type="http://schemas.openxmlformats.org/officeDocument/2006/relationships/diagramColors" Target="../diagrams/colors119.xml"/><Relationship Id="rId7" Type="http://schemas.openxmlformats.org/officeDocument/2006/relationships/image" Target="../media/image37.png"/><Relationship Id="rId71" Type="http://schemas.openxmlformats.org/officeDocument/2006/relationships/diagramQuickStyle" Target="../diagrams/quickStyle114.xml"/><Relationship Id="rId92" Type="http://schemas.openxmlformats.org/officeDocument/2006/relationships/diagramColors" Target="../diagrams/colors118.xml"/><Relationship Id="rId2" Type="http://schemas.openxmlformats.org/officeDocument/2006/relationships/notesSlide" Target="../notesSlides/notesSlide14.xml"/><Relationship Id="rId16" Type="http://schemas.openxmlformats.org/officeDocument/2006/relationships/diagramData" Target="../diagrams/data104.xml"/><Relationship Id="rId29" Type="http://schemas.openxmlformats.org/officeDocument/2006/relationships/diagramLayout" Target="../diagrams/layout106.xml"/><Relationship Id="rId11" Type="http://schemas.openxmlformats.org/officeDocument/2006/relationships/image" Target="../media/image36.png"/><Relationship Id="rId24" Type="http://schemas.openxmlformats.org/officeDocument/2006/relationships/diagramLayout" Target="../diagrams/layout105.xml"/><Relationship Id="rId32" Type="http://schemas.microsoft.com/office/2007/relationships/diagramDrawing" Target="../diagrams/drawing106.xml"/><Relationship Id="rId37" Type="http://schemas.microsoft.com/office/2007/relationships/diagramDrawing" Target="../diagrams/drawing107.xml"/><Relationship Id="rId40" Type="http://schemas.openxmlformats.org/officeDocument/2006/relationships/diagramQuickStyle" Target="../diagrams/quickStyle108.xml"/><Relationship Id="rId45" Type="http://schemas.openxmlformats.org/officeDocument/2006/relationships/diagramQuickStyle" Target="../diagrams/quickStyle109.xml"/><Relationship Id="rId53" Type="http://schemas.microsoft.com/office/2007/relationships/diagramDrawing" Target="../diagrams/drawing110.xml"/><Relationship Id="rId58" Type="http://schemas.microsoft.com/office/2007/relationships/diagramDrawing" Target="../diagrams/drawing111.xml"/><Relationship Id="rId66" Type="http://schemas.openxmlformats.org/officeDocument/2006/relationships/diagramQuickStyle" Target="../diagrams/quickStyle113.xml"/><Relationship Id="rId74" Type="http://schemas.openxmlformats.org/officeDocument/2006/relationships/diagramData" Target="../diagrams/data115.xml"/><Relationship Id="rId79" Type="http://schemas.openxmlformats.org/officeDocument/2006/relationships/diagramData" Target="../diagrams/data116.xml"/><Relationship Id="rId87" Type="http://schemas.openxmlformats.org/officeDocument/2006/relationships/diagramColors" Target="../diagrams/colors117.xml"/><Relationship Id="rId5" Type="http://schemas.openxmlformats.org/officeDocument/2006/relationships/image" Target="../media/image32.png"/><Relationship Id="rId61" Type="http://schemas.openxmlformats.org/officeDocument/2006/relationships/diagramQuickStyle" Target="../diagrams/quickStyle112.xml"/><Relationship Id="rId82" Type="http://schemas.openxmlformats.org/officeDocument/2006/relationships/diagramColors" Target="../diagrams/colors116.xml"/><Relationship Id="rId90" Type="http://schemas.openxmlformats.org/officeDocument/2006/relationships/diagramLayout" Target="../diagrams/layout118.xml"/><Relationship Id="rId95" Type="http://schemas.openxmlformats.org/officeDocument/2006/relationships/diagramLayout" Target="../diagrams/layout119.xml"/><Relationship Id="rId19" Type="http://schemas.openxmlformats.org/officeDocument/2006/relationships/diagramColors" Target="../diagrams/colors104.xml"/><Relationship Id="rId14" Type="http://schemas.openxmlformats.org/officeDocument/2006/relationships/image" Target="../media/image40.png"/><Relationship Id="rId22" Type="http://schemas.microsoft.com/office/2007/relationships/hdphoto" Target="../media/hdphoto2.wdp"/><Relationship Id="rId27" Type="http://schemas.microsoft.com/office/2007/relationships/diagramDrawing" Target="../diagrams/drawing105.xml"/><Relationship Id="rId30" Type="http://schemas.openxmlformats.org/officeDocument/2006/relationships/diagramQuickStyle" Target="../diagrams/quickStyle106.xml"/><Relationship Id="rId35" Type="http://schemas.openxmlformats.org/officeDocument/2006/relationships/diagramQuickStyle" Target="../diagrams/quickStyle107.xml"/><Relationship Id="rId43" Type="http://schemas.openxmlformats.org/officeDocument/2006/relationships/diagramData" Target="../diagrams/data109.xml"/><Relationship Id="rId48" Type="http://schemas.openxmlformats.org/officeDocument/2006/relationships/image" Target="../media/image11.png"/><Relationship Id="rId56" Type="http://schemas.openxmlformats.org/officeDocument/2006/relationships/diagramQuickStyle" Target="../diagrams/quickStyle111.xml"/><Relationship Id="rId64" Type="http://schemas.openxmlformats.org/officeDocument/2006/relationships/diagramData" Target="../diagrams/data113.xml"/><Relationship Id="rId69" Type="http://schemas.openxmlformats.org/officeDocument/2006/relationships/diagramData" Target="../diagrams/data114.xml"/><Relationship Id="rId77" Type="http://schemas.openxmlformats.org/officeDocument/2006/relationships/diagramColors" Target="../diagrams/colors115.xml"/><Relationship Id="rId8" Type="http://schemas.openxmlformats.org/officeDocument/2006/relationships/image" Target="../media/image34.png"/><Relationship Id="rId51" Type="http://schemas.openxmlformats.org/officeDocument/2006/relationships/diagramQuickStyle" Target="../diagrams/quickStyle110.xml"/><Relationship Id="rId72" Type="http://schemas.openxmlformats.org/officeDocument/2006/relationships/diagramColors" Target="../diagrams/colors114.xml"/><Relationship Id="rId80" Type="http://schemas.openxmlformats.org/officeDocument/2006/relationships/diagramLayout" Target="../diagrams/layout116.xml"/><Relationship Id="rId85" Type="http://schemas.openxmlformats.org/officeDocument/2006/relationships/diagramLayout" Target="../diagrams/layout117.xml"/><Relationship Id="rId93" Type="http://schemas.microsoft.com/office/2007/relationships/diagramDrawing" Target="../diagrams/drawing118.xml"/><Relationship Id="rId98" Type="http://schemas.microsoft.com/office/2007/relationships/diagramDrawing" Target="../diagrams/drawing119.xml"/><Relationship Id="rId3" Type="http://schemas.openxmlformats.org/officeDocument/2006/relationships/image" Target="../media/image30.png"/><Relationship Id="rId12" Type="http://schemas.openxmlformats.org/officeDocument/2006/relationships/image" Target="../media/image38.png"/><Relationship Id="rId17" Type="http://schemas.openxmlformats.org/officeDocument/2006/relationships/diagramLayout" Target="../diagrams/layout104.xml"/><Relationship Id="rId25" Type="http://schemas.openxmlformats.org/officeDocument/2006/relationships/diagramQuickStyle" Target="../diagrams/quickStyle105.xml"/><Relationship Id="rId33" Type="http://schemas.openxmlformats.org/officeDocument/2006/relationships/diagramData" Target="../diagrams/data107.xml"/><Relationship Id="rId38" Type="http://schemas.openxmlformats.org/officeDocument/2006/relationships/diagramData" Target="../diagrams/data108.xml"/><Relationship Id="rId46" Type="http://schemas.openxmlformats.org/officeDocument/2006/relationships/diagramColors" Target="../diagrams/colors109.xml"/><Relationship Id="rId59" Type="http://schemas.openxmlformats.org/officeDocument/2006/relationships/diagramData" Target="../diagrams/data112.xml"/><Relationship Id="rId67" Type="http://schemas.openxmlformats.org/officeDocument/2006/relationships/diagramColors" Target="../diagrams/colors113.xml"/><Relationship Id="rId20" Type="http://schemas.microsoft.com/office/2007/relationships/diagramDrawing" Target="../diagrams/drawing104.xml"/><Relationship Id="rId41" Type="http://schemas.openxmlformats.org/officeDocument/2006/relationships/diagramColors" Target="../diagrams/colors108.xml"/><Relationship Id="rId54" Type="http://schemas.openxmlformats.org/officeDocument/2006/relationships/diagramData" Target="../diagrams/data111.xml"/><Relationship Id="rId62" Type="http://schemas.openxmlformats.org/officeDocument/2006/relationships/diagramColors" Target="../diagrams/colors112.xml"/><Relationship Id="rId70" Type="http://schemas.openxmlformats.org/officeDocument/2006/relationships/diagramLayout" Target="../diagrams/layout114.xml"/><Relationship Id="rId75" Type="http://schemas.openxmlformats.org/officeDocument/2006/relationships/diagramLayout" Target="../diagrams/layout115.xml"/><Relationship Id="rId83" Type="http://schemas.microsoft.com/office/2007/relationships/diagramDrawing" Target="../diagrams/drawing116.xml"/><Relationship Id="rId88" Type="http://schemas.microsoft.com/office/2007/relationships/diagramDrawing" Target="../diagrams/drawing117.xml"/><Relationship Id="rId91" Type="http://schemas.openxmlformats.org/officeDocument/2006/relationships/diagramQuickStyle" Target="../diagrams/quickStyle118.xml"/><Relationship Id="rId96" Type="http://schemas.openxmlformats.org/officeDocument/2006/relationships/diagramQuickStyle" Target="../diagrams/quickStyle1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15" Type="http://schemas.openxmlformats.org/officeDocument/2006/relationships/image" Target="../media/image42.png"/><Relationship Id="rId23" Type="http://schemas.openxmlformats.org/officeDocument/2006/relationships/diagramData" Target="../diagrams/data105.xml"/><Relationship Id="rId28" Type="http://schemas.openxmlformats.org/officeDocument/2006/relationships/diagramData" Target="../diagrams/data106.xml"/><Relationship Id="rId36" Type="http://schemas.openxmlformats.org/officeDocument/2006/relationships/diagramColors" Target="../diagrams/colors107.xml"/><Relationship Id="rId49" Type="http://schemas.openxmlformats.org/officeDocument/2006/relationships/diagramData" Target="../diagrams/data110.xml"/><Relationship Id="rId57" Type="http://schemas.openxmlformats.org/officeDocument/2006/relationships/diagramColors" Target="../diagrams/colors111.xml"/><Relationship Id="rId10" Type="http://schemas.openxmlformats.org/officeDocument/2006/relationships/image" Target="../media/image39.png"/><Relationship Id="rId31" Type="http://schemas.openxmlformats.org/officeDocument/2006/relationships/diagramColors" Target="../diagrams/colors106.xml"/><Relationship Id="rId44" Type="http://schemas.openxmlformats.org/officeDocument/2006/relationships/diagramLayout" Target="../diagrams/layout109.xml"/><Relationship Id="rId52" Type="http://schemas.openxmlformats.org/officeDocument/2006/relationships/diagramColors" Target="../diagrams/colors110.xml"/><Relationship Id="rId60" Type="http://schemas.openxmlformats.org/officeDocument/2006/relationships/diagramLayout" Target="../diagrams/layout112.xml"/><Relationship Id="rId65" Type="http://schemas.openxmlformats.org/officeDocument/2006/relationships/diagramLayout" Target="../diagrams/layout113.xml"/><Relationship Id="rId73" Type="http://schemas.microsoft.com/office/2007/relationships/diagramDrawing" Target="../diagrams/drawing114.xml"/><Relationship Id="rId78" Type="http://schemas.microsoft.com/office/2007/relationships/diagramDrawing" Target="../diagrams/drawing115.xml"/><Relationship Id="rId81" Type="http://schemas.openxmlformats.org/officeDocument/2006/relationships/diagramQuickStyle" Target="../diagrams/quickStyle116.xml"/><Relationship Id="rId86" Type="http://schemas.openxmlformats.org/officeDocument/2006/relationships/diagramQuickStyle" Target="../diagrams/quickStyle117.xml"/><Relationship Id="rId94" Type="http://schemas.openxmlformats.org/officeDocument/2006/relationships/diagramData" Target="../diagrams/data119.xml"/><Relationship Id="rId4" Type="http://schemas.openxmlformats.org/officeDocument/2006/relationships/image" Target="../media/image31.png"/><Relationship Id="rId9" Type="http://schemas.openxmlformats.org/officeDocument/2006/relationships/image" Target="../media/image35.png"/><Relationship Id="rId13" Type="http://schemas.openxmlformats.org/officeDocument/2006/relationships/image" Target="../media/image41.png"/><Relationship Id="rId18" Type="http://schemas.openxmlformats.org/officeDocument/2006/relationships/diagramQuickStyle" Target="../diagrams/quickStyle104.xml"/><Relationship Id="rId39" Type="http://schemas.openxmlformats.org/officeDocument/2006/relationships/diagramLayout" Target="../diagrams/layout10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40.png"/><Relationship Id="rId18" Type="http://schemas.openxmlformats.org/officeDocument/2006/relationships/diagramData" Target="../diagrams/data120.xml"/><Relationship Id="rId3" Type="http://schemas.openxmlformats.org/officeDocument/2006/relationships/image" Target="../media/image30.png"/><Relationship Id="rId21" Type="http://schemas.openxmlformats.org/officeDocument/2006/relationships/diagramColors" Target="../diagrams/colors120.xml"/><Relationship Id="rId7" Type="http://schemas.openxmlformats.org/officeDocument/2006/relationships/image" Target="../media/image37.png"/><Relationship Id="rId12" Type="http://schemas.openxmlformats.org/officeDocument/2006/relationships/image" Target="../media/image38.png"/><Relationship Id="rId17" Type="http://schemas.microsoft.com/office/2007/relationships/hdphoto" Target="../media/hdphoto2.wdp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44.png"/><Relationship Id="rId20" Type="http://schemas.openxmlformats.org/officeDocument/2006/relationships/diagramQuickStyle" Target="../diagrams/quickStyle1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11" Type="http://schemas.openxmlformats.org/officeDocument/2006/relationships/image" Target="../media/image36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23" Type="http://schemas.openxmlformats.org/officeDocument/2006/relationships/image" Target="../media/image11.png"/><Relationship Id="rId10" Type="http://schemas.openxmlformats.org/officeDocument/2006/relationships/image" Target="../media/image39.png"/><Relationship Id="rId19" Type="http://schemas.openxmlformats.org/officeDocument/2006/relationships/diagramLayout" Target="../diagrams/layout120.xml"/><Relationship Id="rId4" Type="http://schemas.openxmlformats.org/officeDocument/2006/relationships/image" Target="../media/image31.png"/><Relationship Id="rId9" Type="http://schemas.openxmlformats.org/officeDocument/2006/relationships/image" Target="../media/image35.png"/><Relationship Id="rId14" Type="http://schemas.openxmlformats.org/officeDocument/2006/relationships/image" Target="../media/image41.png"/><Relationship Id="rId22" Type="http://schemas.microsoft.com/office/2007/relationships/diagramDrawing" Target="../diagrams/drawing1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diagramData" Target="../diagrams/data1.xml"/><Relationship Id="rId18" Type="http://schemas.openxmlformats.org/officeDocument/2006/relationships/diagramData" Target="../diagrams/data2.xml"/><Relationship Id="rId26" Type="http://schemas.openxmlformats.org/officeDocument/2006/relationships/diagramColors" Target="../diagrams/colors3.xml"/><Relationship Id="rId39" Type="http://schemas.openxmlformats.org/officeDocument/2006/relationships/diagramLayout" Target="../diagrams/layout6.xml"/><Relationship Id="rId3" Type="http://schemas.openxmlformats.org/officeDocument/2006/relationships/image" Target="../media/image14.png"/><Relationship Id="rId21" Type="http://schemas.openxmlformats.org/officeDocument/2006/relationships/diagramColors" Target="../diagrams/colors2.xml"/><Relationship Id="rId34" Type="http://schemas.openxmlformats.org/officeDocument/2006/relationships/diagramLayout" Target="../diagrams/layout5.xml"/><Relationship Id="rId42" Type="http://schemas.microsoft.com/office/2007/relationships/diagramDrawing" Target="../diagrams/drawing6.xml"/><Relationship Id="rId47" Type="http://schemas.microsoft.com/office/2007/relationships/diagramDrawing" Target="../diagrams/drawing7.xml"/><Relationship Id="rId50" Type="http://schemas.openxmlformats.org/officeDocument/2006/relationships/diagramQuickStyle" Target="../diagrams/quickStyle8.xml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microsoft.com/office/2007/relationships/diagramDrawing" Target="../diagrams/drawing1.xml"/><Relationship Id="rId25" Type="http://schemas.openxmlformats.org/officeDocument/2006/relationships/diagramQuickStyle" Target="../diagrams/quickStyle3.xml"/><Relationship Id="rId33" Type="http://schemas.openxmlformats.org/officeDocument/2006/relationships/diagramData" Target="../diagrams/data5.xml"/><Relationship Id="rId38" Type="http://schemas.openxmlformats.org/officeDocument/2006/relationships/diagramData" Target="../diagrams/data6.xml"/><Relationship Id="rId46" Type="http://schemas.openxmlformats.org/officeDocument/2006/relationships/diagramColors" Target="../diagrams/colors7.xml"/><Relationship Id="rId2" Type="http://schemas.openxmlformats.org/officeDocument/2006/relationships/notesSlide" Target="../notesSlides/notesSlide6.xml"/><Relationship Id="rId16" Type="http://schemas.openxmlformats.org/officeDocument/2006/relationships/diagramColors" Target="../diagrams/colors1.xml"/><Relationship Id="rId20" Type="http://schemas.openxmlformats.org/officeDocument/2006/relationships/diagramQuickStyle" Target="../diagrams/quickStyle2.xml"/><Relationship Id="rId29" Type="http://schemas.openxmlformats.org/officeDocument/2006/relationships/diagramLayout" Target="../diagrams/layout4.xml"/><Relationship Id="rId41" Type="http://schemas.openxmlformats.org/officeDocument/2006/relationships/diagramColors" Target="../diagrams/colors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24" Type="http://schemas.openxmlformats.org/officeDocument/2006/relationships/diagramLayout" Target="../diagrams/layout3.xml"/><Relationship Id="rId32" Type="http://schemas.microsoft.com/office/2007/relationships/diagramDrawing" Target="../diagrams/drawing4.xml"/><Relationship Id="rId37" Type="http://schemas.microsoft.com/office/2007/relationships/diagramDrawing" Target="../diagrams/drawing5.xml"/><Relationship Id="rId40" Type="http://schemas.openxmlformats.org/officeDocument/2006/relationships/diagramQuickStyle" Target="../diagrams/quickStyle6.xml"/><Relationship Id="rId45" Type="http://schemas.openxmlformats.org/officeDocument/2006/relationships/diagramQuickStyle" Target="../diagrams/quickStyle7.xml"/><Relationship Id="rId5" Type="http://schemas.openxmlformats.org/officeDocument/2006/relationships/image" Target="../media/image16.png"/><Relationship Id="rId15" Type="http://schemas.openxmlformats.org/officeDocument/2006/relationships/diagramQuickStyle" Target="../diagrams/quickStyle1.xml"/><Relationship Id="rId23" Type="http://schemas.openxmlformats.org/officeDocument/2006/relationships/diagramData" Target="../diagrams/data3.xml"/><Relationship Id="rId28" Type="http://schemas.openxmlformats.org/officeDocument/2006/relationships/diagramData" Target="../diagrams/data4.xml"/><Relationship Id="rId36" Type="http://schemas.openxmlformats.org/officeDocument/2006/relationships/diagramColors" Target="../diagrams/colors5.xml"/><Relationship Id="rId49" Type="http://schemas.openxmlformats.org/officeDocument/2006/relationships/diagramLayout" Target="../diagrams/layout8.xml"/><Relationship Id="rId10" Type="http://schemas.openxmlformats.org/officeDocument/2006/relationships/image" Target="../media/image21.png"/><Relationship Id="rId19" Type="http://schemas.openxmlformats.org/officeDocument/2006/relationships/diagramLayout" Target="../diagrams/layout2.xml"/><Relationship Id="rId31" Type="http://schemas.openxmlformats.org/officeDocument/2006/relationships/diagramColors" Target="../diagrams/colors4.xml"/><Relationship Id="rId44" Type="http://schemas.openxmlformats.org/officeDocument/2006/relationships/diagramLayout" Target="../diagrams/layout7.xml"/><Relationship Id="rId52" Type="http://schemas.microsoft.com/office/2007/relationships/diagramDrawing" Target="../diagrams/drawing8.xml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diagramLayout" Target="../diagrams/layout1.xml"/><Relationship Id="rId22" Type="http://schemas.microsoft.com/office/2007/relationships/diagramDrawing" Target="../diagrams/drawing2.xml"/><Relationship Id="rId27" Type="http://schemas.microsoft.com/office/2007/relationships/diagramDrawing" Target="../diagrams/drawing3.xml"/><Relationship Id="rId30" Type="http://schemas.openxmlformats.org/officeDocument/2006/relationships/diagramQuickStyle" Target="../diagrams/quickStyle4.xml"/><Relationship Id="rId35" Type="http://schemas.openxmlformats.org/officeDocument/2006/relationships/diagramQuickStyle" Target="../diagrams/quickStyle5.xml"/><Relationship Id="rId43" Type="http://schemas.openxmlformats.org/officeDocument/2006/relationships/diagramData" Target="../diagrams/data7.xml"/><Relationship Id="rId48" Type="http://schemas.openxmlformats.org/officeDocument/2006/relationships/diagramData" Target="../diagrams/data8.xml"/><Relationship Id="rId8" Type="http://schemas.openxmlformats.org/officeDocument/2006/relationships/image" Target="../media/image19.png"/><Relationship Id="rId51" Type="http://schemas.openxmlformats.org/officeDocument/2006/relationships/diagramColors" Target="../diagrams/colors8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diagramColors" Target="../diagrams/colors10.xml"/><Relationship Id="rId18" Type="http://schemas.openxmlformats.org/officeDocument/2006/relationships/diagramColors" Target="../diagrams/colors11.xml"/><Relationship Id="rId26" Type="http://schemas.openxmlformats.org/officeDocument/2006/relationships/diagramLayout" Target="../diagrams/layout13.xml"/><Relationship Id="rId39" Type="http://schemas.microsoft.com/office/2007/relationships/diagramDrawing" Target="../diagrams/drawing15.xml"/><Relationship Id="rId21" Type="http://schemas.openxmlformats.org/officeDocument/2006/relationships/diagramLayout" Target="../diagrams/layout12.xml"/><Relationship Id="rId34" Type="http://schemas.microsoft.com/office/2007/relationships/diagramDrawing" Target="../diagrams/drawing14.xml"/><Relationship Id="rId42" Type="http://schemas.openxmlformats.org/officeDocument/2006/relationships/diagramQuickStyle" Target="../diagrams/quickStyle16.xml"/><Relationship Id="rId47" Type="http://schemas.openxmlformats.org/officeDocument/2006/relationships/diagramQuickStyle" Target="../diagrams/quickStyle17.xml"/><Relationship Id="rId50" Type="http://schemas.openxmlformats.org/officeDocument/2006/relationships/diagramData" Target="../diagrams/data18.xml"/><Relationship Id="rId55" Type="http://schemas.openxmlformats.org/officeDocument/2006/relationships/diagramData" Target="../diagrams/data19.xml"/><Relationship Id="rId63" Type="http://schemas.openxmlformats.org/officeDocument/2006/relationships/diagramColors" Target="../diagrams/colors20.xml"/><Relationship Id="rId68" Type="http://schemas.openxmlformats.org/officeDocument/2006/relationships/diagramColors" Target="../diagrams/colors21.xml"/><Relationship Id="rId76" Type="http://schemas.openxmlformats.org/officeDocument/2006/relationships/diagramLayout" Target="../diagrams/layout23.xml"/><Relationship Id="rId84" Type="http://schemas.microsoft.com/office/2007/relationships/diagramDrawing" Target="../diagrams/drawing24.xml"/><Relationship Id="rId7" Type="http://schemas.openxmlformats.org/officeDocument/2006/relationships/diagramQuickStyle" Target="../diagrams/quickStyle9.xml"/><Relationship Id="rId71" Type="http://schemas.openxmlformats.org/officeDocument/2006/relationships/diagramLayout" Target="../diagrams/layout22.xml"/><Relationship Id="rId2" Type="http://schemas.openxmlformats.org/officeDocument/2006/relationships/notesSlide" Target="../notesSlides/notesSlide7.xml"/><Relationship Id="rId16" Type="http://schemas.openxmlformats.org/officeDocument/2006/relationships/diagramLayout" Target="../diagrams/layout11.xml"/><Relationship Id="rId29" Type="http://schemas.microsoft.com/office/2007/relationships/diagramDrawing" Target="../diagrams/drawing13.xml"/><Relationship Id="rId11" Type="http://schemas.openxmlformats.org/officeDocument/2006/relationships/diagramLayout" Target="../diagrams/layout10.xml"/><Relationship Id="rId24" Type="http://schemas.microsoft.com/office/2007/relationships/diagramDrawing" Target="../diagrams/drawing12.xml"/><Relationship Id="rId32" Type="http://schemas.openxmlformats.org/officeDocument/2006/relationships/diagramQuickStyle" Target="../diagrams/quickStyle14.xml"/><Relationship Id="rId37" Type="http://schemas.openxmlformats.org/officeDocument/2006/relationships/diagramQuickStyle" Target="../diagrams/quickStyle15.xml"/><Relationship Id="rId40" Type="http://schemas.openxmlformats.org/officeDocument/2006/relationships/diagramData" Target="../diagrams/data16.xml"/><Relationship Id="rId45" Type="http://schemas.openxmlformats.org/officeDocument/2006/relationships/diagramData" Target="../diagrams/data17.xml"/><Relationship Id="rId53" Type="http://schemas.openxmlformats.org/officeDocument/2006/relationships/diagramColors" Target="../diagrams/colors18.xml"/><Relationship Id="rId58" Type="http://schemas.openxmlformats.org/officeDocument/2006/relationships/diagramColors" Target="../diagrams/colors19.xml"/><Relationship Id="rId66" Type="http://schemas.openxmlformats.org/officeDocument/2006/relationships/diagramLayout" Target="../diagrams/layout21.xml"/><Relationship Id="rId74" Type="http://schemas.microsoft.com/office/2007/relationships/diagramDrawing" Target="../diagrams/drawing22.xml"/><Relationship Id="rId79" Type="http://schemas.microsoft.com/office/2007/relationships/diagramDrawing" Target="../diagrams/drawing23.xml"/><Relationship Id="rId5" Type="http://schemas.openxmlformats.org/officeDocument/2006/relationships/diagramData" Target="../diagrams/data9.xml"/><Relationship Id="rId61" Type="http://schemas.openxmlformats.org/officeDocument/2006/relationships/diagramLayout" Target="../diagrams/layout20.xml"/><Relationship Id="rId82" Type="http://schemas.openxmlformats.org/officeDocument/2006/relationships/diagramQuickStyle" Target="../diagrams/quickStyle24.xml"/><Relationship Id="rId10" Type="http://schemas.openxmlformats.org/officeDocument/2006/relationships/diagramData" Target="../diagrams/data10.xml"/><Relationship Id="rId19" Type="http://schemas.microsoft.com/office/2007/relationships/diagramDrawing" Target="../diagrams/drawing11.xml"/><Relationship Id="rId31" Type="http://schemas.openxmlformats.org/officeDocument/2006/relationships/diagramLayout" Target="../diagrams/layout14.xml"/><Relationship Id="rId44" Type="http://schemas.microsoft.com/office/2007/relationships/diagramDrawing" Target="../diagrams/drawing16.xml"/><Relationship Id="rId52" Type="http://schemas.openxmlformats.org/officeDocument/2006/relationships/diagramQuickStyle" Target="../diagrams/quickStyle18.xml"/><Relationship Id="rId60" Type="http://schemas.openxmlformats.org/officeDocument/2006/relationships/diagramData" Target="../diagrams/data20.xml"/><Relationship Id="rId65" Type="http://schemas.openxmlformats.org/officeDocument/2006/relationships/diagramData" Target="../diagrams/data21.xml"/><Relationship Id="rId73" Type="http://schemas.openxmlformats.org/officeDocument/2006/relationships/diagramColors" Target="../diagrams/colors22.xml"/><Relationship Id="rId78" Type="http://schemas.openxmlformats.org/officeDocument/2006/relationships/diagramColors" Target="../diagrams/colors23.xml"/><Relationship Id="rId81" Type="http://schemas.openxmlformats.org/officeDocument/2006/relationships/diagramLayout" Target="../diagrams/layout24.xml"/><Relationship Id="rId4" Type="http://schemas.openxmlformats.org/officeDocument/2006/relationships/image" Target="../media/image15.png"/><Relationship Id="rId9" Type="http://schemas.microsoft.com/office/2007/relationships/diagramDrawing" Target="../diagrams/drawing9.xml"/><Relationship Id="rId14" Type="http://schemas.microsoft.com/office/2007/relationships/diagramDrawing" Target="../diagrams/drawing10.xml"/><Relationship Id="rId22" Type="http://schemas.openxmlformats.org/officeDocument/2006/relationships/diagramQuickStyle" Target="../diagrams/quickStyle12.xml"/><Relationship Id="rId27" Type="http://schemas.openxmlformats.org/officeDocument/2006/relationships/diagramQuickStyle" Target="../diagrams/quickStyle13.xml"/><Relationship Id="rId30" Type="http://schemas.openxmlformats.org/officeDocument/2006/relationships/diagramData" Target="../diagrams/data14.xml"/><Relationship Id="rId35" Type="http://schemas.openxmlformats.org/officeDocument/2006/relationships/diagramData" Target="../diagrams/data15.xml"/><Relationship Id="rId43" Type="http://schemas.openxmlformats.org/officeDocument/2006/relationships/diagramColors" Target="../diagrams/colors16.xml"/><Relationship Id="rId48" Type="http://schemas.openxmlformats.org/officeDocument/2006/relationships/diagramColors" Target="../diagrams/colors17.xml"/><Relationship Id="rId56" Type="http://schemas.openxmlformats.org/officeDocument/2006/relationships/diagramLayout" Target="../diagrams/layout19.xml"/><Relationship Id="rId64" Type="http://schemas.microsoft.com/office/2007/relationships/diagramDrawing" Target="../diagrams/drawing20.xml"/><Relationship Id="rId69" Type="http://schemas.microsoft.com/office/2007/relationships/diagramDrawing" Target="../diagrams/drawing21.xml"/><Relationship Id="rId77" Type="http://schemas.openxmlformats.org/officeDocument/2006/relationships/diagramQuickStyle" Target="../diagrams/quickStyle23.xml"/><Relationship Id="rId8" Type="http://schemas.openxmlformats.org/officeDocument/2006/relationships/diagramColors" Target="../diagrams/colors9.xml"/><Relationship Id="rId51" Type="http://schemas.openxmlformats.org/officeDocument/2006/relationships/diagramLayout" Target="../diagrams/layout18.xml"/><Relationship Id="rId72" Type="http://schemas.openxmlformats.org/officeDocument/2006/relationships/diagramQuickStyle" Target="../diagrams/quickStyle22.xml"/><Relationship Id="rId80" Type="http://schemas.openxmlformats.org/officeDocument/2006/relationships/diagramData" Target="../diagrams/data24.xml"/><Relationship Id="rId3" Type="http://schemas.openxmlformats.org/officeDocument/2006/relationships/image" Target="../media/image14.png"/><Relationship Id="rId12" Type="http://schemas.openxmlformats.org/officeDocument/2006/relationships/diagramQuickStyle" Target="../diagrams/quickStyle10.xml"/><Relationship Id="rId17" Type="http://schemas.openxmlformats.org/officeDocument/2006/relationships/diagramQuickStyle" Target="../diagrams/quickStyle11.xml"/><Relationship Id="rId25" Type="http://schemas.openxmlformats.org/officeDocument/2006/relationships/diagramData" Target="../diagrams/data13.xml"/><Relationship Id="rId33" Type="http://schemas.openxmlformats.org/officeDocument/2006/relationships/diagramColors" Target="../diagrams/colors14.xml"/><Relationship Id="rId38" Type="http://schemas.openxmlformats.org/officeDocument/2006/relationships/diagramColors" Target="../diagrams/colors15.xml"/><Relationship Id="rId46" Type="http://schemas.openxmlformats.org/officeDocument/2006/relationships/diagramLayout" Target="../diagrams/layout17.xml"/><Relationship Id="rId59" Type="http://schemas.microsoft.com/office/2007/relationships/diagramDrawing" Target="../diagrams/drawing19.xml"/><Relationship Id="rId67" Type="http://schemas.openxmlformats.org/officeDocument/2006/relationships/diagramQuickStyle" Target="../diagrams/quickStyle21.xml"/><Relationship Id="rId20" Type="http://schemas.openxmlformats.org/officeDocument/2006/relationships/diagramData" Target="../diagrams/data12.xml"/><Relationship Id="rId41" Type="http://schemas.openxmlformats.org/officeDocument/2006/relationships/diagramLayout" Target="../diagrams/layout16.xml"/><Relationship Id="rId54" Type="http://schemas.microsoft.com/office/2007/relationships/diagramDrawing" Target="../diagrams/drawing18.xml"/><Relationship Id="rId62" Type="http://schemas.openxmlformats.org/officeDocument/2006/relationships/diagramQuickStyle" Target="../diagrams/quickStyle20.xml"/><Relationship Id="rId70" Type="http://schemas.openxmlformats.org/officeDocument/2006/relationships/diagramData" Target="../diagrams/data22.xml"/><Relationship Id="rId75" Type="http://schemas.openxmlformats.org/officeDocument/2006/relationships/diagramData" Target="../diagrams/data23.xml"/><Relationship Id="rId83" Type="http://schemas.openxmlformats.org/officeDocument/2006/relationships/diagramColors" Target="../diagrams/colors24.xml"/><Relationship Id="rId1" Type="http://schemas.openxmlformats.org/officeDocument/2006/relationships/slideLayout" Target="../slideLayouts/slideLayout3.xml"/><Relationship Id="rId6" Type="http://schemas.openxmlformats.org/officeDocument/2006/relationships/diagramLayout" Target="../diagrams/layout9.xml"/><Relationship Id="rId15" Type="http://schemas.openxmlformats.org/officeDocument/2006/relationships/diagramData" Target="../diagrams/data11.xml"/><Relationship Id="rId23" Type="http://schemas.openxmlformats.org/officeDocument/2006/relationships/diagramColors" Target="../diagrams/colors12.xml"/><Relationship Id="rId28" Type="http://schemas.openxmlformats.org/officeDocument/2006/relationships/diagramColors" Target="../diagrams/colors13.xml"/><Relationship Id="rId36" Type="http://schemas.openxmlformats.org/officeDocument/2006/relationships/diagramLayout" Target="../diagrams/layout15.xml"/><Relationship Id="rId49" Type="http://schemas.microsoft.com/office/2007/relationships/diagramDrawing" Target="../diagrams/drawing17.xml"/><Relationship Id="rId57" Type="http://schemas.openxmlformats.org/officeDocument/2006/relationships/diagramQuickStyle" Target="../diagrams/quickStyle19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diagramLayout" Target="../diagrams/layout29.xml"/><Relationship Id="rId117" Type="http://schemas.openxmlformats.org/officeDocument/2006/relationships/diagramQuickStyle" Target="../diagrams/quickStyle47.xml"/><Relationship Id="rId21" Type="http://schemas.openxmlformats.org/officeDocument/2006/relationships/diagramLayout" Target="../diagrams/layout28.xml"/><Relationship Id="rId42" Type="http://schemas.openxmlformats.org/officeDocument/2006/relationships/diagramQuickStyle" Target="../diagrams/quickStyle32.xml"/><Relationship Id="rId47" Type="http://schemas.openxmlformats.org/officeDocument/2006/relationships/diagramQuickStyle" Target="../diagrams/quickStyle33.xml"/><Relationship Id="rId63" Type="http://schemas.openxmlformats.org/officeDocument/2006/relationships/diagramColors" Target="../diagrams/colors36.xml"/><Relationship Id="rId68" Type="http://schemas.openxmlformats.org/officeDocument/2006/relationships/diagramColors" Target="../diagrams/colors37.xml"/><Relationship Id="rId84" Type="http://schemas.microsoft.com/office/2007/relationships/diagramDrawing" Target="../diagrams/drawing40.xml"/><Relationship Id="rId89" Type="http://schemas.microsoft.com/office/2007/relationships/diagramDrawing" Target="../diagrams/drawing41.xml"/><Relationship Id="rId112" Type="http://schemas.openxmlformats.org/officeDocument/2006/relationships/diagramQuickStyle" Target="../diagrams/quickStyle46.xml"/><Relationship Id="rId16" Type="http://schemas.openxmlformats.org/officeDocument/2006/relationships/diagramLayout" Target="../diagrams/layout27.xml"/><Relationship Id="rId107" Type="http://schemas.openxmlformats.org/officeDocument/2006/relationships/diagramQuickStyle" Target="../diagrams/quickStyle45.xml"/><Relationship Id="rId11" Type="http://schemas.openxmlformats.org/officeDocument/2006/relationships/diagramLayout" Target="../diagrams/layout26.xml"/><Relationship Id="rId32" Type="http://schemas.openxmlformats.org/officeDocument/2006/relationships/diagramQuickStyle" Target="../diagrams/quickStyle30.xml"/><Relationship Id="rId37" Type="http://schemas.openxmlformats.org/officeDocument/2006/relationships/diagramQuickStyle" Target="../diagrams/quickStyle31.xml"/><Relationship Id="rId53" Type="http://schemas.openxmlformats.org/officeDocument/2006/relationships/diagramColors" Target="../diagrams/colors34.xml"/><Relationship Id="rId58" Type="http://schemas.openxmlformats.org/officeDocument/2006/relationships/diagramColors" Target="../diagrams/colors35.xml"/><Relationship Id="rId74" Type="http://schemas.microsoft.com/office/2007/relationships/diagramDrawing" Target="../diagrams/drawing38.xml"/><Relationship Id="rId79" Type="http://schemas.microsoft.com/office/2007/relationships/diagramDrawing" Target="../diagrams/drawing39.xml"/><Relationship Id="rId102" Type="http://schemas.openxmlformats.org/officeDocument/2006/relationships/diagramQuickStyle" Target="../diagrams/quickStyle44.xml"/><Relationship Id="rId123" Type="http://schemas.openxmlformats.org/officeDocument/2006/relationships/diagramColors" Target="../diagrams/colors48.xml"/><Relationship Id="rId128" Type="http://schemas.openxmlformats.org/officeDocument/2006/relationships/diagramColors" Target="../diagrams/colors49.xml"/><Relationship Id="rId5" Type="http://schemas.openxmlformats.org/officeDocument/2006/relationships/diagramQuickStyle" Target="../diagrams/quickStyle25.xml"/><Relationship Id="rId90" Type="http://schemas.openxmlformats.org/officeDocument/2006/relationships/diagramData" Target="../diagrams/data42.xml"/><Relationship Id="rId95" Type="http://schemas.openxmlformats.org/officeDocument/2006/relationships/diagramData" Target="../diagrams/data43.xml"/><Relationship Id="rId19" Type="http://schemas.microsoft.com/office/2007/relationships/diagramDrawing" Target="../diagrams/drawing27.xml"/><Relationship Id="rId14" Type="http://schemas.microsoft.com/office/2007/relationships/diagramDrawing" Target="../diagrams/drawing26.xml"/><Relationship Id="rId22" Type="http://schemas.openxmlformats.org/officeDocument/2006/relationships/diagramQuickStyle" Target="../diagrams/quickStyle28.xml"/><Relationship Id="rId27" Type="http://schemas.openxmlformats.org/officeDocument/2006/relationships/diagramQuickStyle" Target="../diagrams/quickStyle29.xml"/><Relationship Id="rId30" Type="http://schemas.openxmlformats.org/officeDocument/2006/relationships/diagramData" Target="../diagrams/data30.xml"/><Relationship Id="rId35" Type="http://schemas.openxmlformats.org/officeDocument/2006/relationships/diagramData" Target="../diagrams/data31.xml"/><Relationship Id="rId43" Type="http://schemas.openxmlformats.org/officeDocument/2006/relationships/diagramColors" Target="../diagrams/colors32.xml"/><Relationship Id="rId48" Type="http://schemas.openxmlformats.org/officeDocument/2006/relationships/diagramColors" Target="../diagrams/colors33.xml"/><Relationship Id="rId56" Type="http://schemas.openxmlformats.org/officeDocument/2006/relationships/diagramLayout" Target="../diagrams/layout35.xml"/><Relationship Id="rId64" Type="http://schemas.microsoft.com/office/2007/relationships/diagramDrawing" Target="../diagrams/drawing36.xml"/><Relationship Id="rId69" Type="http://schemas.microsoft.com/office/2007/relationships/diagramDrawing" Target="../diagrams/drawing37.xml"/><Relationship Id="rId77" Type="http://schemas.openxmlformats.org/officeDocument/2006/relationships/diagramQuickStyle" Target="../diagrams/quickStyle39.xml"/><Relationship Id="rId100" Type="http://schemas.openxmlformats.org/officeDocument/2006/relationships/diagramData" Target="../diagrams/data44.xml"/><Relationship Id="rId105" Type="http://schemas.openxmlformats.org/officeDocument/2006/relationships/diagramData" Target="../diagrams/data45.xml"/><Relationship Id="rId113" Type="http://schemas.openxmlformats.org/officeDocument/2006/relationships/diagramColors" Target="../diagrams/colors46.xml"/><Relationship Id="rId118" Type="http://schemas.openxmlformats.org/officeDocument/2006/relationships/diagramColors" Target="../diagrams/colors47.xml"/><Relationship Id="rId126" Type="http://schemas.openxmlformats.org/officeDocument/2006/relationships/diagramLayout" Target="../diagrams/layout49.xml"/><Relationship Id="rId8" Type="http://schemas.openxmlformats.org/officeDocument/2006/relationships/image" Target="../media/image14.png"/><Relationship Id="rId51" Type="http://schemas.openxmlformats.org/officeDocument/2006/relationships/diagramLayout" Target="../diagrams/layout34.xml"/><Relationship Id="rId72" Type="http://schemas.openxmlformats.org/officeDocument/2006/relationships/diagramQuickStyle" Target="../diagrams/quickStyle38.xml"/><Relationship Id="rId80" Type="http://schemas.openxmlformats.org/officeDocument/2006/relationships/diagramData" Target="../diagrams/data40.xml"/><Relationship Id="rId85" Type="http://schemas.openxmlformats.org/officeDocument/2006/relationships/diagramData" Target="../diagrams/data41.xml"/><Relationship Id="rId93" Type="http://schemas.openxmlformats.org/officeDocument/2006/relationships/diagramColors" Target="../diagrams/colors42.xml"/><Relationship Id="rId98" Type="http://schemas.openxmlformats.org/officeDocument/2006/relationships/diagramColors" Target="../diagrams/colors43.xml"/><Relationship Id="rId121" Type="http://schemas.openxmlformats.org/officeDocument/2006/relationships/diagramLayout" Target="../diagrams/layout48.xml"/><Relationship Id="rId3" Type="http://schemas.openxmlformats.org/officeDocument/2006/relationships/diagramData" Target="../diagrams/data25.xml"/><Relationship Id="rId12" Type="http://schemas.openxmlformats.org/officeDocument/2006/relationships/diagramQuickStyle" Target="../diagrams/quickStyle26.xml"/><Relationship Id="rId17" Type="http://schemas.openxmlformats.org/officeDocument/2006/relationships/diagramQuickStyle" Target="../diagrams/quickStyle27.xml"/><Relationship Id="rId25" Type="http://schemas.openxmlformats.org/officeDocument/2006/relationships/diagramData" Target="../diagrams/data29.xml"/><Relationship Id="rId33" Type="http://schemas.openxmlformats.org/officeDocument/2006/relationships/diagramColors" Target="../diagrams/colors30.xml"/><Relationship Id="rId38" Type="http://schemas.openxmlformats.org/officeDocument/2006/relationships/diagramColors" Target="../diagrams/colors31.xml"/><Relationship Id="rId46" Type="http://schemas.openxmlformats.org/officeDocument/2006/relationships/diagramLayout" Target="../diagrams/layout33.xml"/><Relationship Id="rId59" Type="http://schemas.microsoft.com/office/2007/relationships/diagramDrawing" Target="../diagrams/drawing35.xml"/><Relationship Id="rId67" Type="http://schemas.openxmlformats.org/officeDocument/2006/relationships/diagramQuickStyle" Target="../diagrams/quickStyle37.xml"/><Relationship Id="rId103" Type="http://schemas.openxmlformats.org/officeDocument/2006/relationships/diagramColors" Target="../diagrams/colors44.xml"/><Relationship Id="rId108" Type="http://schemas.openxmlformats.org/officeDocument/2006/relationships/diagramColors" Target="../diagrams/colors45.xml"/><Relationship Id="rId116" Type="http://schemas.openxmlformats.org/officeDocument/2006/relationships/diagramLayout" Target="../diagrams/layout47.xml"/><Relationship Id="rId124" Type="http://schemas.microsoft.com/office/2007/relationships/diagramDrawing" Target="../diagrams/drawing48.xml"/><Relationship Id="rId129" Type="http://schemas.microsoft.com/office/2007/relationships/diagramDrawing" Target="../diagrams/drawing49.xml"/><Relationship Id="rId20" Type="http://schemas.openxmlformats.org/officeDocument/2006/relationships/diagramData" Target="../diagrams/data28.xml"/><Relationship Id="rId41" Type="http://schemas.openxmlformats.org/officeDocument/2006/relationships/diagramLayout" Target="../diagrams/layout32.xml"/><Relationship Id="rId54" Type="http://schemas.microsoft.com/office/2007/relationships/diagramDrawing" Target="../diagrams/drawing34.xml"/><Relationship Id="rId62" Type="http://schemas.openxmlformats.org/officeDocument/2006/relationships/diagramQuickStyle" Target="../diagrams/quickStyle36.xml"/><Relationship Id="rId70" Type="http://schemas.openxmlformats.org/officeDocument/2006/relationships/diagramData" Target="../diagrams/data38.xml"/><Relationship Id="rId75" Type="http://schemas.openxmlformats.org/officeDocument/2006/relationships/diagramData" Target="../diagrams/data39.xml"/><Relationship Id="rId83" Type="http://schemas.openxmlformats.org/officeDocument/2006/relationships/diagramColors" Target="../diagrams/colors40.xml"/><Relationship Id="rId88" Type="http://schemas.openxmlformats.org/officeDocument/2006/relationships/diagramColors" Target="../diagrams/colors41.xml"/><Relationship Id="rId91" Type="http://schemas.openxmlformats.org/officeDocument/2006/relationships/diagramLayout" Target="../diagrams/layout42.xml"/><Relationship Id="rId96" Type="http://schemas.openxmlformats.org/officeDocument/2006/relationships/diagramLayout" Target="../diagrams/layout43.xml"/><Relationship Id="rId111" Type="http://schemas.openxmlformats.org/officeDocument/2006/relationships/diagramLayout" Target="../diagrams/layout46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5.xml"/><Relationship Id="rId15" Type="http://schemas.openxmlformats.org/officeDocument/2006/relationships/diagramData" Target="../diagrams/data27.xml"/><Relationship Id="rId23" Type="http://schemas.openxmlformats.org/officeDocument/2006/relationships/diagramColors" Target="../diagrams/colors28.xml"/><Relationship Id="rId28" Type="http://schemas.openxmlformats.org/officeDocument/2006/relationships/diagramColors" Target="../diagrams/colors29.xml"/><Relationship Id="rId36" Type="http://schemas.openxmlformats.org/officeDocument/2006/relationships/diagramLayout" Target="../diagrams/layout31.xml"/><Relationship Id="rId49" Type="http://schemas.microsoft.com/office/2007/relationships/diagramDrawing" Target="../diagrams/drawing33.xml"/><Relationship Id="rId57" Type="http://schemas.openxmlformats.org/officeDocument/2006/relationships/diagramQuickStyle" Target="../diagrams/quickStyle35.xml"/><Relationship Id="rId106" Type="http://schemas.openxmlformats.org/officeDocument/2006/relationships/diagramLayout" Target="../diagrams/layout45.xml"/><Relationship Id="rId114" Type="http://schemas.microsoft.com/office/2007/relationships/diagramDrawing" Target="../diagrams/drawing46.xml"/><Relationship Id="rId119" Type="http://schemas.microsoft.com/office/2007/relationships/diagramDrawing" Target="../diagrams/drawing47.xml"/><Relationship Id="rId127" Type="http://schemas.openxmlformats.org/officeDocument/2006/relationships/diagramQuickStyle" Target="../diagrams/quickStyle49.xml"/><Relationship Id="rId10" Type="http://schemas.openxmlformats.org/officeDocument/2006/relationships/diagramData" Target="../diagrams/data26.xml"/><Relationship Id="rId31" Type="http://schemas.openxmlformats.org/officeDocument/2006/relationships/diagramLayout" Target="../diagrams/layout30.xml"/><Relationship Id="rId44" Type="http://schemas.microsoft.com/office/2007/relationships/diagramDrawing" Target="../diagrams/drawing32.xml"/><Relationship Id="rId52" Type="http://schemas.openxmlformats.org/officeDocument/2006/relationships/diagramQuickStyle" Target="../diagrams/quickStyle34.xml"/><Relationship Id="rId60" Type="http://schemas.openxmlformats.org/officeDocument/2006/relationships/diagramData" Target="../diagrams/data36.xml"/><Relationship Id="rId65" Type="http://schemas.openxmlformats.org/officeDocument/2006/relationships/diagramData" Target="../diagrams/data37.xml"/><Relationship Id="rId73" Type="http://schemas.openxmlformats.org/officeDocument/2006/relationships/diagramColors" Target="../diagrams/colors38.xml"/><Relationship Id="rId78" Type="http://schemas.openxmlformats.org/officeDocument/2006/relationships/diagramColors" Target="../diagrams/colors39.xml"/><Relationship Id="rId81" Type="http://schemas.openxmlformats.org/officeDocument/2006/relationships/diagramLayout" Target="../diagrams/layout40.xml"/><Relationship Id="rId86" Type="http://schemas.openxmlformats.org/officeDocument/2006/relationships/diagramLayout" Target="../diagrams/layout41.xml"/><Relationship Id="rId94" Type="http://schemas.microsoft.com/office/2007/relationships/diagramDrawing" Target="../diagrams/drawing42.xml"/><Relationship Id="rId99" Type="http://schemas.microsoft.com/office/2007/relationships/diagramDrawing" Target="../diagrams/drawing43.xml"/><Relationship Id="rId101" Type="http://schemas.openxmlformats.org/officeDocument/2006/relationships/diagramLayout" Target="../diagrams/layout44.xml"/><Relationship Id="rId122" Type="http://schemas.openxmlformats.org/officeDocument/2006/relationships/diagramQuickStyle" Target="../diagrams/quickStyle48.xml"/><Relationship Id="rId4" Type="http://schemas.openxmlformats.org/officeDocument/2006/relationships/diagramLayout" Target="../diagrams/layout25.xml"/><Relationship Id="rId9" Type="http://schemas.openxmlformats.org/officeDocument/2006/relationships/image" Target="../media/image15.png"/><Relationship Id="rId13" Type="http://schemas.openxmlformats.org/officeDocument/2006/relationships/diagramColors" Target="../diagrams/colors26.xml"/><Relationship Id="rId18" Type="http://schemas.openxmlformats.org/officeDocument/2006/relationships/diagramColors" Target="../diagrams/colors27.xml"/><Relationship Id="rId39" Type="http://schemas.microsoft.com/office/2007/relationships/diagramDrawing" Target="../diagrams/drawing31.xml"/><Relationship Id="rId109" Type="http://schemas.microsoft.com/office/2007/relationships/diagramDrawing" Target="../diagrams/drawing45.xml"/><Relationship Id="rId34" Type="http://schemas.microsoft.com/office/2007/relationships/diagramDrawing" Target="../diagrams/drawing30.xml"/><Relationship Id="rId50" Type="http://schemas.openxmlformats.org/officeDocument/2006/relationships/diagramData" Target="../diagrams/data34.xml"/><Relationship Id="rId55" Type="http://schemas.openxmlformats.org/officeDocument/2006/relationships/diagramData" Target="../diagrams/data35.xml"/><Relationship Id="rId76" Type="http://schemas.openxmlformats.org/officeDocument/2006/relationships/diagramLayout" Target="../diagrams/layout39.xml"/><Relationship Id="rId97" Type="http://schemas.openxmlformats.org/officeDocument/2006/relationships/diagramQuickStyle" Target="../diagrams/quickStyle43.xml"/><Relationship Id="rId104" Type="http://schemas.microsoft.com/office/2007/relationships/diagramDrawing" Target="../diagrams/drawing44.xml"/><Relationship Id="rId120" Type="http://schemas.openxmlformats.org/officeDocument/2006/relationships/diagramData" Target="../diagrams/data48.xml"/><Relationship Id="rId125" Type="http://schemas.openxmlformats.org/officeDocument/2006/relationships/diagramData" Target="../diagrams/data49.xml"/><Relationship Id="rId7" Type="http://schemas.microsoft.com/office/2007/relationships/diagramDrawing" Target="../diagrams/drawing25.xml"/><Relationship Id="rId71" Type="http://schemas.openxmlformats.org/officeDocument/2006/relationships/diagramLayout" Target="../diagrams/layout38.xml"/><Relationship Id="rId92" Type="http://schemas.openxmlformats.org/officeDocument/2006/relationships/diagramQuickStyle" Target="../diagrams/quickStyle42.xml"/><Relationship Id="rId2" Type="http://schemas.openxmlformats.org/officeDocument/2006/relationships/notesSlide" Target="../notesSlides/notesSlide8.xml"/><Relationship Id="rId29" Type="http://schemas.microsoft.com/office/2007/relationships/diagramDrawing" Target="../diagrams/drawing29.xml"/><Relationship Id="rId24" Type="http://schemas.microsoft.com/office/2007/relationships/diagramDrawing" Target="../diagrams/drawing28.xml"/><Relationship Id="rId40" Type="http://schemas.openxmlformats.org/officeDocument/2006/relationships/diagramData" Target="../diagrams/data32.xml"/><Relationship Id="rId45" Type="http://schemas.openxmlformats.org/officeDocument/2006/relationships/diagramData" Target="../diagrams/data33.xml"/><Relationship Id="rId66" Type="http://schemas.openxmlformats.org/officeDocument/2006/relationships/diagramLayout" Target="../diagrams/layout37.xml"/><Relationship Id="rId87" Type="http://schemas.openxmlformats.org/officeDocument/2006/relationships/diagramQuickStyle" Target="../diagrams/quickStyle41.xml"/><Relationship Id="rId110" Type="http://schemas.openxmlformats.org/officeDocument/2006/relationships/diagramData" Target="../diagrams/data46.xml"/><Relationship Id="rId115" Type="http://schemas.openxmlformats.org/officeDocument/2006/relationships/diagramData" Target="../diagrams/data47.xml"/><Relationship Id="rId61" Type="http://schemas.openxmlformats.org/officeDocument/2006/relationships/diagramLayout" Target="../diagrams/layout36.xml"/><Relationship Id="rId82" Type="http://schemas.openxmlformats.org/officeDocument/2006/relationships/diagramQuickStyle" Target="../diagrams/quickStyle40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diagramQuickStyle" Target="../diagrams/quickStyle51.xml"/><Relationship Id="rId18" Type="http://schemas.openxmlformats.org/officeDocument/2006/relationships/diagramQuickStyle" Target="../diagrams/quickStyle52.xml"/><Relationship Id="rId26" Type="http://schemas.openxmlformats.org/officeDocument/2006/relationships/diagramData" Target="../diagrams/data54.xml"/><Relationship Id="rId39" Type="http://schemas.openxmlformats.org/officeDocument/2006/relationships/diagramColors" Target="../diagrams/colors56.xml"/><Relationship Id="rId21" Type="http://schemas.openxmlformats.org/officeDocument/2006/relationships/diagramData" Target="../diagrams/data53.xml"/><Relationship Id="rId34" Type="http://schemas.openxmlformats.org/officeDocument/2006/relationships/diagramColors" Target="../diagrams/colors55.xml"/><Relationship Id="rId42" Type="http://schemas.openxmlformats.org/officeDocument/2006/relationships/diagramLayout" Target="../diagrams/layout57.xml"/><Relationship Id="rId47" Type="http://schemas.openxmlformats.org/officeDocument/2006/relationships/diagramLayout" Target="../diagrams/layout58.xml"/><Relationship Id="rId50" Type="http://schemas.microsoft.com/office/2007/relationships/diagramDrawing" Target="../diagrams/drawing58.xml"/><Relationship Id="rId55" Type="http://schemas.microsoft.com/office/2007/relationships/diagramDrawing" Target="../diagrams/drawing59.xml"/><Relationship Id="rId7" Type="http://schemas.openxmlformats.org/officeDocument/2006/relationships/diagramLayout" Target="../diagrams/layout50.xml"/><Relationship Id="rId12" Type="http://schemas.openxmlformats.org/officeDocument/2006/relationships/diagramLayout" Target="../diagrams/layout51.xml"/><Relationship Id="rId17" Type="http://schemas.openxmlformats.org/officeDocument/2006/relationships/diagramLayout" Target="../diagrams/layout52.xml"/><Relationship Id="rId25" Type="http://schemas.microsoft.com/office/2007/relationships/diagramDrawing" Target="../diagrams/drawing53.xml"/><Relationship Id="rId33" Type="http://schemas.openxmlformats.org/officeDocument/2006/relationships/diagramQuickStyle" Target="../diagrams/quickStyle55.xml"/><Relationship Id="rId38" Type="http://schemas.openxmlformats.org/officeDocument/2006/relationships/diagramQuickStyle" Target="../diagrams/quickStyle56.xml"/><Relationship Id="rId46" Type="http://schemas.openxmlformats.org/officeDocument/2006/relationships/diagramData" Target="../diagrams/data58.xml"/><Relationship Id="rId2" Type="http://schemas.openxmlformats.org/officeDocument/2006/relationships/notesSlide" Target="../notesSlides/notesSlide9.xml"/><Relationship Id="rId16" Type="http://schemas.openxmlformats.org/officeDocument/2006/relationships/diagramData" Target="../diagrams/data52.xml"/><Relationship Id="rId20" Type="http://schemas.microsoft.com/office/2007/relationships/diagramDrawing" Target="../diagrams/drawing52.xml"/><Relationship Id="rId29" Type="http://schemas.openxmlformats.org/officeDocument/2006/relationships/diagramColors" Target="../diagrams/colors54.xml"/><Relationship Id="rId41" Type="http://schemas.openxmlformats.org/officeDocument/2006/relationships/diagramData" Target="../diagrams/data57.xml"/><Relationship Id="rId54" Type="http://schemas.openxmlformats.org/officeDocument/2006/relationships/diagramColors" Target="../diagrams/colors59.xml"/><Relationship Id="rId1" Type="http://schemas.openxmlformats.org/officeDocument/2006/relationships/slideLayout" Target="../slideLayouts/slideLayout3.xml"/><Relationship Id="rId6" Type="http://schemas.openxmlformats.org/officeDocument/2006/relationships/diagramData" Target="../diagrams/data50.xml"/><Relationship Id="rId11" Type="http://schemas.openxmlformats.org/officeDocument/2006/relationships/diagramData" Target="../diagrams/data51.xml"/><Relationship Id="rId24" Type="http://schemas.openxmlformats.org/officeDocument/2006/relationships/diagramColors" Target="../diagrams/colors53.xml"/><Relationship Id="rId32" Type="http://schemas.openxmlformats.org/officeDocument/2006/relationships/diagramLayout" Target="../diagrams/layout55.xml"/><Relationship Id="rId37" Type="http://schemas.openxmlformats.org/officeDocument/2006/relationships/diagramLayout" Target="../diagrams/layout56.xml"/><Relationship Id="rId40" Type="http://schemas.microsoft.com/office/2007/relationships/diagramDrawing" Target="../diagrams/drawing56.xml"/><Relationship Id="rId45" Type="http://schemas.microsoft.com/office/2007/relationships/diagramDrawing" Target="../diagrams/drawing57.xml"/><Relationship Id="rId53" Type="http://schemas.openxmlformats.org/officeDocument/2006/relationships/diagramQuickStyle" Target="../diagrams/quickStyle59.xml"/><Relationship Id="rId5" Type="http://schemas.openxmlformats.org/officeDocument/2006/relationships/image" Target="../media/image15.png"/><Relationship Id="rId15" Type="http://schemas.microsoft.com/office/2007/relationships/diagramDrawing" Target="../diagrams/drawing51.xml"/><Relationship Id="rId23" Type="http://schemas.openxmlformats.org/officeDocument/2006/relationships/diagramQuickStyle" Target="../diagrams/quickStyle53.xml"/><Relationship Id="rId28" Type="http://schemas.openxmlformats.org/officeDocument/2006/relationships/diagramQuickStyle" Target="../diagrams/quickStyle54.xml"/><Relationship Id="rId36" Type="http://schemas.openxmlformats.org/officeDocument/2006/relationships/diagramData" Target="../diagrams/data56.xml"/><Relationship Id="rId49" Type="http://schemas.openxmlformats.org/officeDocument/2006/relationships/diagramColors" Target="../diagrams/colors58.xml"/><Relationship Id="rId10" Type="http://schemas.microsoft.com/office/2007/relationships/diagramDrawing" Target="../diagrams/drawing50.xml"/><Relationship Id="rId19" Type="http://schemas.openxmlformats.org/officeDocument/2006/relationships/diagramColors" Target="../diagrams/colors52.xml"/><Relationship Id="rId31" Type="http://schemas.openxmlformats.org/officeDocument/2006/relationships/diagramData" Target="../diagrams/data55.xml"/><Relationship Id="rId44" Type="http://schemas.openxmlformats.org/officeDocument/2006/relationships/diagramColors" Target="../diagrams/colors57.xml"/><Relationship Id="rId52" Type="http://schemas.openxmlformats.org/officeDocument/2006/relationships/diagramLayout" Target="../diagrams/layout59.xml"/><Relationship Id="rId4" Type="http://schemas.openxmlformats.org/officeDocument/2006/relationships/image" Target="../media/image14.png"/><Relationship Id="rId9" Type="http://schemas.openxmlformats.org/officeDocument/2006/relationships/diagramColors" Target="../diagrams/colors50.xml"/><Relationship Id="rId14" Type="http://schemas.openxmlformats.org/officeDocument/2006/relationships/diagramColors" Target="../diagrams/colors51.xml"/><Relationship Id="rId22" Type="http://schemas.openxmlformats.org/officeDocument/2006/relationships/diagramLayout" Target="../diagrams/layout53.xml"/><Relationship Id="rId27" Type="http://schemas.openxmlformats.org/officeDocument/2006/relationships/diagramLayout" Target="../diagrams/layout54.xml"/><Relationship Id="rId30" Type="http://schemas.microsoft.com/office/2007/relationships/diagramDrawing" Target="../diagrams/drawing54.xml"/><Relationship Id="rId35" Type="http://schemas.microsoft.com/office/2007/relationships/diagramDrawing" Target="../diagrams/drawing55.xml"/><Relationship Id="rId43" Type="http://schemas.openxmlformats.org/officeDocument/2006/relationships/diagramQuickStyle" Target="../diagrams/quickStyle57.xml"/><Relationship Id="rId48" Type="http://schemas.openxmlformats.org/officeDocument/2006/relationships/diagramQuickStyle" Target="../diagrams/quickStyle58.xml"/><Relationship Id="rId8" Type="http://schemas.openxmlformats.org/officeDocument/2006/relationships/diagramQuickStyle" Target="../diagrams/quickStyle50.xml"/><Relationship Id="rId51" Type="http://schemas.openxmlformats.org/officeDocument/2006/relationships/diagramData" Target="../diagrams/data59.xml"/><Relationship Id="rId3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6" descr="\\bbs-fs\ReichmMi$\Eigene Dateien\My Pictures\colourbox\COLOURBOX4314741bearb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" t="2318" r="-8" b="10008"/>
          <a:stretch/>
        </p:blipFill>
        <p:spPr bwMode="auto">
          <a:xfrm>
            <a:off x="-1335145" y="-5060"/>
            <a:ext cx="11821448" cy="5172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platzhalter 5"/>
          <p:cNvSpPr txBox="1">
            <a:spLocks/>
          </p:cNvSpPr>
          <p:nvPr/>
        </p:nvSpPr>
        <p:spPr>
          <a:xfrm>
            <a:off x="2116086" y="4307078"/>
            <a:ext cx="4817386" cy="360000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600" b="1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90000"/>
              </a:lnSpc>
            </a:pPr>
            <a:r>
              <a:rPr lang="de-DE" sz="2000" b="0" cap="all" dirty="0">
                <a:solidFill>
                  <a:srgbClr val="003063"/>
                </a:solidFill>
                <a:ea typeface="+mj-ea"/>
                <a:cs typeface="+mj-cs"/>
              </a:rPr>
              <a:t>Vorstellung der Schulformen </a:t>
            </a:r>
          </a:p>
        </p:txBody>
      </p:sp>
      <p:sp>
        <p:nvSpPr>
          <p:cNvPr id="8" name="Titel 1"/>
          <p:cNvSpPr txBox="1">
            <a:spLocks/>
          </p:cNvSpPr>
          <p:nvPr/>
        </p:nvSpPr>
        <p:spPr>
          <a:xfrm>
            <a:off x="1901854" y="3785486"/>
            <a:ext cx="4868333" cy="360000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dirty="0" smtClean="0">
                <a:solidFill>
                  <a:srgbClr val="CC3300"/>
                </a:solidFill>
              </a:rPr>
              <a:t>Stadtteilschule </a:t>
            </a:r>
            <a:r>
              <a:rPr lang="de-DE" sz="2000" dirty="0">
                <a:solidFill>
                  <a:srgbClr val="CC3300"/>
                </a:solidFill>
              </a:rPr>
              <a:t>und </a:t>
            </a:r>
            <a:r>
              <a:rPr lang="de-DE" sz="2000" dirty="0" smtClean="0">
                <a:solidFill>
                  <a:srgbClr val="CC3300"/>
                </a:solidFill>
              </a:rPr>
              <a:t>Gymnasium </a:t>
            </a:r>
            <a:endParaRPr lang="de-DE" sz="2000" b="1" dirty="0">
              <a:solidFill>
                <a:srgbClr val="CC3300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107949" y="4740805"/>
            <a:ext cx="44663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1200"/>
              </a:spcBef>
            </a:pPr>
            <a:r>
              <a:rPr lang="de-DE" altLang="de-DE" sz="1600" dirty="0" smtClean="0">
                <a:solidFill>
                  <a:schemeClr val="bg1"/>
                </a:solidFill>
              </a:rPr>
              <a:t>Informationsabend für </a:t>
            </a:r>
            <a:r>
              <a:rPr lang="de-DE" altLang="de-DE" sz="1600" dirty="0">
                <a:solidFill>
                  <a:schemeClr val="bg1"/>
                </a:solidFill>
              </a:rPr>
              <a:t>die Eltern der 4. Klassen</a:t>
            </a:r>
          </a:p>
        </p:txBody>
      </p:sp>
      <p:pic>
        <p:nvPicPr>
          <p:cNvPr id="18" name="Picture 7" descr="\\bbs-fs\ReichmMi$\Eigene Dateien\SIZ I\Gestaltung\CMYK\Hamburg_Bug_NEU_CMYK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2102" y="3744937"/>
            <a:ext cx="1406617" cy="4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7" descr="\\bbs-fs\ReichmMi$\Eigene Dateien\SIZ I\Gestaltung\CMYK\Hamburg_Bug_NEU_CMYK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1274" y="3744937"/>
            <a:ext cx="1404000" cy="486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 rot="5400000">
            <a:off x="8253266" y="2924920"/>
            <a:ext cx="1444221" cy="195814"/>
          </a:xfrm>
          <a:ln>
            <a:noFill/>
          </a:ln>
          <a:effectLst/>
        </p:spPr>
        <p:txBody>
          <a:bodyPr/>
          <a:lstStyle/>
          <a:p>
            <a:r>
              <a:rPr lang="en-GB" dirty="0" smtClean="0">
                <a:solidFill>
                  <a:schemeClr val="tx1"/>
                </a:solidFill>
              </a:rPr>
              <a:t>Foto: www.colourbox.de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13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77350" y="7735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2.22222E-6 L 2.77778E-6 -0.11482 " pathEditMode="relative" rAng="0" ptsTypes="AA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7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4" grpId="0"/>
      <p:bldP spid="11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83130" y="4295257"/>
            <a:ext cx="360000" cy="360000"/>
          </a:xfrm>
        </p:spPr>
        <p:txBody>
          <a:bodyPr>
            <a:noAutofit/>
          </a:bodyPr>
          <a:lstStyle/>
          <a:p>
            <a:r>
              <a:rPr lang="de-DE" sz="1800" dirty="0" smtClean="0"/>
              <a:t>5</a:t>
            </a:r>
            <a:endParaRPr lang="de-DE" sz="1800" dirty="0"/>
          </a:p>
        </p:txBody>
      </p:sp>
      <p:sp>
        <p:nvSpPr>
          <p:cNvPr id="75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51182" y="4352147"/>
            <a:ext cx="6438102" cy="246221"/>
          </a:xfrm>
        </p:spPr>
        <p:txBody>
          <a:bodyPr/>
          <a:lstStyle/>
          <a:p>
            <a:r>
              <a:rPr lang="de-DE" dirty="0" smtClean="0"/>
              <a:t>… und nach der Schule?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3164" y="1077775"/>
            <a:ext cx="5760000" cy="2412720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82093" y="4295257"/>
            <a:ext cx="360000" cy="360000"/>
          </a:xfrm>
        </p:spPr>
        <p:txBody>
          <a:bodyPr/>
          <a:lstStyle/>
          <a:p>
            <a:r>
              <a:rPr lang="de-DE" sz="1800" dirty="0" smtClean="0"/>
              <a:t>4</a:t>
            </a:r>
            <a:endParaRPr lang="de-DE" sz="180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50145" y="4352147"/>
            <a:ext cx="6438102" cy="246221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Die Schulformen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1440" y="-94822"/>
            <a:ext cx="2413636" cy="1499957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641" y="248847"/>
            <a:ext cx="2410985" cy="1080000"/>
          </a:xfrm>
          <a:prstGeom prst="rect">
            <a:avLst/>
          </a:prstGeom>
        </p:spPr>
      </p:pic>
      <p:graphicFrame>
        <p:nvGraphicFramePr>
          <p:cNvPr id="61" name="Diagramm 60"/>
          <p:cNvGraphicFramePr/>
          <p:nvPr>
            <p:extLst>
              <p:ext uri="{D42A27DB-BD31-4B8C-83A1-F6EECF244321}">
                <p14:modId xmlns:p14="http://schemas.microsoft.com/office/powerpoint/2010/main" val="1910893593"/>
              </p:ext>
            </p:extLst>
          </p:nvPr>
        </p:nvGraphicFramePr>
        <p:xfrm>
          <a:off x="1634464" y="1691587"/>
          <a:ext cx="3305608" cy="2858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6" name="Titel 3"/>
          <p:cNvSpPr txBox="1">
            <a:spLocks/>
          </p:cNvSpPr>
          <p:nvPr/>
        </p:nvSpPr>
        <p:spPr>
          <a:xfrm>
            <a:off x="1513994" y="110108"/>
            <a:ext cx="8529485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>
                <a:solidFill>
                  <a:srgbClr val="AAC686"/>
                </a:solidFill>
              </a:rPr>
              <a:t>Organisation der Oberstufe</a:t>
            </a:r>
            <a:endParaRPr lang="de-DE" dirty="0">
              <a:solidFill>
                <a:srgbClr val="AAC686"/>
              </a:solidFill>
            </a:endParaRPr>
          </a:p>
        </p:txBody>
      </p:sp>
      <p:grpSp>
        <p:nvGrpSpPr>
          <p:cNvPr id="2049" name="Gruppieren 2048" hidden="1"/>
          <p:cNvGrpSpPr/>
          <p:nvPr/>
        </p:nvGrpSpPr>
        <p:grpSpPr>
          <a:xfrm>
            <a:off x="3414255" y="918889"/>
            <a:ext cx="2128241" cy="3123977"/>
            <a:chOff x="3414255" y="918889"/>
            <a:chExt cx="2128241" cy="3123977"/>
          </a:xfrm>
        </p:grpSpPr>
        <p:pic>
          <p:nvPicPr>
            <p:cNvPr id="132" name="Grafik 131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58864">
              <a:off x="3414255" y="3607023"/>
              <a:ext cx="648000" cy="435843"/>
            </a:xfrm>
            <a:prstGeom prst="rect">
              <a:avLst/>
            </a:prstGeom>
            <a:noFill/>
            <a:effectLst>
              <a:outerShdw blurRad="50800" dist="50800" dir="5400000" algn="ctr" rotWithShape="0">
                <a:srgbClr val="000000">
                  <a:alpha val="13000"/>
                </a:srgbClr>
              </a:outerShdw>
            </a:effectLst>
          </p:spPr>
        </p:pic>
        <p:pic>
          <p:nvPicPr>
            <p:cNvPr id="134" name="Grafik 133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58864">
              <a:off x="3514520" y="2510883"/>
              <a:ext cx="648000" cy="435843"/>
            </a:xfrm>
            <a:prstGeom prst="rect">
              <a:avLst/>
            </a:prstGeom>
            <a:noFill/>
            <a:effectLst>
              <a:outerShdw blurRad="50800" dist="50800" dir="5400000" algn="ctr" rotWithShape="0">
                <a:srgbClr val="000000">
                  <a:alpha val="13000"/>
                </a:srgbClr>
              </a:outerShdw>
            </a:effectLst>
          </p:spPr>
        </p:pic>
        <p:pic>
          <p:nvPicPr>
            <p:cNvPr id="129" name="Grafik 128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58864">
              <a:off x="3487964" y="918889"/>
              <a:ext cx="648000" cy="435843"/>
            </a:xfrm>
            <a:prstGeom prst="rect">
              <a:avLst/>
            </a:prstGeom>
            <a:noFill/>
            <a:effectLst>
              <a:outerShdw blurRad="50800" dist="50800" dir="5400000" algn="ctr" rotWithShape="0">
                <a:srgbClr val="000000">
                  <a:alpha val="13000"/>
                </a:srgbClr>
              </a:outerShdw>
            </a:effectLst>
          </p:spPr>
        </p:pic>
        <p:pic>
          <p:nvPicPr>
            <p:cNvPr id="135" name="Grafik 134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93878">
              <a:off x="4461889" y="965932"/>
              <a:ext cx="648000" cy="435843"/>
            </a:xfrm>
            <a:prstGeom prst="rect">
              <a:avLst/>
            </a:prstGeom>
            <a:noFill/>
            <a:effectLst>
              <a:outerShdw blurRad="50800" dist="50800" dir="5400000" algn="ctr" rotWithShape="0">
                <a:srgbClr val="000000">
                  <a:alpha val="13000"/>
                </a:srgbClr>
              </a:outerShdw>
            </a:effectLst>
          </p:spPr>
        </p:pic>
        <p:pic>
          <p:nvPicPr>
            <p:cNvPr id="136" name="Grafik 135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58864">
              <a:off x="4894496" y="3596615"/>
              <a:ext cx="648000" cy="435843"/>
            </a:xfrm>
            <a:prstGeom prst="rect">
              <a:avLst/>
            </a:prstGeom>
            <a:noFill/>
            <a:effectLst>
              <a:outerShdw blurRad="50800" dist="50800" dir="5400000" algn="ctr" rotWithShape="0">
                <a:srgbClr val="000000">
                  <a:alpha val="13000"/>
                </a:srgbClr>
              </a:outerShdw>
            </a:effectLst>
          </p:spPr>
        </p:pic>
        <p:pic>
          <p:nvPicPr>
            <p:cNvPr id="167" name="Grafik 166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58864">
              <a:off x="4053006" y="2132961"/>
              <a:ext cx="648000" cy="435843"/>
            </a:xfrm>
            <a:prstGeom prst="rect">
              <a:avLst/>
            </a:prstGeom>
            <a:noFill/>
            <a:effectLst>
              <a:outerShdw blurRad="50800" dist="50800" dir="5400000" algn="ctr" rotWithShape="0">
                <a:srgbClr val="000000">
                  <a:alpha val="13000"/>
                </a:srgbClr>
              </a:outerShdw>
            </a:effectLst>
          </p:spPr>
        </p:pic>
      </p:grpSp>
      <p:sp>
        <p:nvSpPr>
          <p:cNvPr id="84" name="Titel 3"/>
          <p:cNvSpPr txBox="1">
            <a:spLocks/>
          </p:cNvSpPr>
          <p:nvPr/>
        </p:nvSpPr>
        <p:spPr>
          <a:xfrm>
            <a:off x="-36512" y="123419"/>
            <a:ext cx="9793088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rgbClr val="AAC686"/>
                </a:solidFill>
              </a:rPr>
              <a:t>Schulabschlüsse und Anschlussmöglichkeiten</a:t>
            </a:r>
          </a:p>
        </p:txBody>
      </p:sp>
      <p:sp>
        <p:nvSpPr>
          <p:cNvPr id="116" name="Textfeld 115"/>
          <p:cNvSpPr txBox="1"/>
          <p:nvPr/>
        </p:nvSpPr>
        <p:spPr>
          <a:xfrm>
            <a:off x="8604000" y="3794400"/>
            <a:ext cx="10801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900" dirty="0" smtClean="0">
                <a:solidFill>
                  <a:srgbClr val="FFC000"/>
                </a:solidFill>
              </a:rPr>
              <a:t>*Abitur</a:t>
            </a:r>
          </a:p>
        </p:txBody>
      </p:sp>
      <p:grpSp>
        <p:nvGrpSpPr>
          <p:cNvPr id="117" name="Gruppieren 116"/>
          <p:cNvGrpSpPr/>
          <p:nvPr/>
        </p:nvGrpSpPr>
        <p:grpSpPr>
          <a:xfrm>
            <a:off x="417600" y="165600"/>
            <a:ext cx="8424936" cy="3757769"/>
            <a:chOff x="35496" y="124536"/>
            <a:chExt cx="8424936" cy="3757769"/>
          </a:xfrm>
        </p:grpSpPr>
        <p:grpSp>
          <p:nvGrpSpPr>
            <p:cNvPr id="119" name="Gruppieren 118"/>
            <p:cNvGrpSpPr/>
            <p:nvPr/>
          </p:nvGrpSpPr>
          <p:grpSpPr>
            <a:xfrm>
              <a:off x="35496" y="124536"/>
              <a:ext cx="8424936" cy="3663069"/>
              <a:chOff x="-18462" y="124536"/>
              <a:chExt cx="8424936" cy="3663069"/>
            </a:xfrm>
          </p:grpSpPr>
          <p:graphicFrame>
            <p:nvGraphicFramePr>
              <p:cNvPr id="149" name="Diagramm 148"/>
              <p:cNvGraphicFramePr/>
              <p:nvPr>
                <p:extLst>
                  <p:ext uri="{D42A27DB-BD31-4B8C-83A1-F6EECF244321}">
                    <p14:modId xmlns:p14="http://schemas.microsoft.com/office/powerpoint/2010/main" val="2268170871"/>
                  </p:ext>
                </p:extLst>
              </p:nvPr>
            </p:nvGraphicFramePr>
            <p:xfrm>
              <a:off x="1634464" y="1691587"/>
              <a:ext cx="3305608" cy="285874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12" r:lo="rId13" r:qs="rId14" r:cs="rId15"/>
              </a:graphicData>
            </a:graphic>
          </p:graphicFrame>
          <p:sp>
            <p:nvSpPr>
              <p:cNvPr id="150" name="Pfeil nach oben 149"/>
              <p:cNvSpPr/>
              <p:nvPr/>
            </p:nvSpPr>
            <p:spPr>
              <a:xfrm>
                <a:off x="4406986" y="1259257"/>
                <a:ext cx="124078" cy="197038"/>
              </a:xfrm>
              <a:prstGeom prst="upArrow">
                <a:avLst>
                  <a:gd name="adj1" fmla="val 42323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graphicFrame>
            <p:nvGraphicFramePr>
              <p:cNvPr id="151" name="Diagramm 150"/>
              <p:cNvGraphicFramePr/>
              <p:nvPr>
                <p:extLst>
                  <p:ext uri="{D42A27DB-BD31-4B8C-83A1-F6EECF244321}">
                    <p14:modId xmlns:p14="http://schemas.microsoft.com/office/powerpoint/2010/main" val="400771997"/>
                  </p:ext>
                </p:extLst>
              </p:nvPr>
            </p:nvGraphicFramePr>
            <p:xfrm>
              <a:off x="5208589" y="2357127"/>
              <a:ext cx="1482739" cy="735117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17" r:lo="rId18" r:qs="rId19" r:cs="rId20"/>
              </a:graphicData>
            </a:graphic>
          </p:graphicFrame>
          <p:graphicFrame>
            <p:nvGraphicFramePr>
              <p:cNvPr id="152" name="Diagramm 151"/>
              <p:cNvGraphicFramePr/>
              <p:nvPr>
                <p:extLst>
                  <p:ext uri="{D42A27DB-BD31-4B8C-83A1-F6EECF244321}">
                    <p14:modId xmlns:p14="http://schemas.microsoft.com/office/powerpoint/2010/main" val="4072569487"/>
                  </p:ext>
                </p:extLst>
              </p:nvPr>
            </p:nvGraphicFramePr>
            <p:xfrm>
              <a:off x="4563956" y="3014114"/>
              <a:ext cx="1304188" cy="451269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22" r:lo="rId23" r:qs="rId24" r:cs="rId25"/>
              </a:graphicData>
            </a:graphic>
          </p:graphicFrame>
          <p:grpSp>
            <p:nvGrpSpPr>
              <p:cNvPr id="153" name="Gruppieren 152"/>
              <p:cNvGrpSpPr/>
              <p:nvPr/>
            </p:nvGrpSpPr>
            <p:grpSpPr>
              <a:xfrm>
                <a:off x="3807170" y="1863015"/>
                <a:ext cx="1323711" cy="210600"/>
                <a:chOff x="10281" y="0"/>
                <a:chExt cx="1323711" cy="210600"/>
              </a:xfrm>
            </p:grpSpPr>
            <p:sp>
              <p:nvSpPr>
                <p:cNvPr id="205" name="Abgerundetes Rechteck 204"/>
                <p:cNvSpPr/>
                <p:nvPr/>
              </p:nvSpPr>
              <p:spPr>
                <a:xfrm>
                  <a:off x="173416" y="0"/>
                  <a:ext cx="1008747" cy="210600"/>
                </a:xfrm>
                <a:prstGeom prst="roundRect">
                  <a:avLst/>
                </a:prstGeom>
                <a:solidFill>
                  <a:srgbClr val="4085BF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06" name="Abgerundetes Rechteck 4"/>
                <p:cNvSpPr/>
                <p:nvPr/>
              </p:nvSpPr>
              <p:spPr>
                <a:xfrm>
                  <a:off x="10281" y="10281"/>
                  <a:ext cx="1323711" cy="190038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4290" tIns="34290" rIns="34290" bIns="34290" numCol="1" spcCol="1270" anchor="ctr" anchorCtr="0">
                  <a:noAutofit/>
                </a:bodyPr>
                <a:lstStyle/>
                <a:p>
                  <a:pPr lvl="0" algn="ctr" defTabSz="40005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de-DE" sz="900" dirty="0" smtClean="0"/>
                    <a:t>Berufsoberschule</a:t>
                  </a:r>
                  <a:endParaRPr lang="de-DE" sz="900" kern="1200" dirty="0"/>
                </a:p>
              </p:txBody>
            </p:sp>
          </p:grpSp>
          <p:grpSp>
            <p:nvGrpSpPr>
              <p:cNvPr id="154" name="Gruppieren 153"/>
              <p:cNvGrpSpPr/>
              <p:nvPr/>
            </p:nvGrpSpPr>
            <p:grpSpPr>
              <a:xfrm>
                <a:off x="5222182" y="1864297"/>
                <a:ext cx="1323711" cy="210600"/>
                <a:chOff x="10281" y="-22334"/>
                <a:chExt cx="1323711" cy="210600"/>
              </a:xfrm>
            </p:grpSpPr>
            <p:sp>
              <p:nvSpPr>
                <p:cNvPr id="203" name="Abgerundetes Rechteck 202"/>
                <p:cNvSpPr/>
                <p:nvPr/>
              </p:nvSpPr>
              <p:spPr>
                <a:xfrm>
                  <a:off x="230788" y="-22334"/>
                  <a:ext cx="875896" cy="210600"/>
                </a:xfrm>
                <a:prstGeom prst="roundRect">
                  <a:avLst/>
                </a:prstGeom>
                <a:solidFill>
                  <a:srgbClr val="4085BF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04" name="Abgerundetes Rechteck 4"/>
                <p:cNvSpPr/>
                <p:nvPr/>
              </p:nvSpPr>
              <p:spPr>
                <a:xfrm>
                  <a:off x="10281" y="-14433"/>
                  <a:ext cx="1323711" cy="190038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4290" tIns="34290" rIns="34290" bIns="34290" numCol="1" spcCol="1270" anchor="ctr" anchorCtr="0">
                  <a:noAutofit/>
                </a:bodyPr>
                <a:lstStyle/>
                <a:p>
                  <a:pPr lvl="0" algn="ctr" defTabSz="40005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de-DE" sz="900" kern="1200" dirty="0" smtClean="0"/>
                    <a:t>Fachoberschule</a:t>
                  </a:r>
                  <a:endParaRPr lang="de-DE" sz="900" kern="1200" dirty="0"/>
                </a:p>
              </p:txBody>
            </p:sp>
          </p:grpSp>
          <p:sp>
            <p:nvSpPr>
              <p:cNvPr id="155" name="Rechteckiger Pfeil 154"/>
              <p:cNvSpPr/>
              <p:nvPr/>
            </p:nvSpPr>
            <p:spPr>
              <a:xfrm rot="5400000" flipH="1">
                <a:off x="5150598" y="1697796"/>
                <a:ext cx="294812" cy="1080122"/>
              </a:xfrm>
              <a:prstGeom prst="bentArrow">
                <a:avLst>
                  <a:gd name="adj1" fmla="val 20708"/>
                  <a:gd name="adj2" fmla="val 22225"/>
                  <a:gd name="adj3" fmla="val 24592"/>
                  <a:gd name="adj4" fmla="val 38949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flatTx/>
              </a:bodyPr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6" name="Rechteckiger Pfeil 155"/>
              <p:cNvSpPr/>
              <p:nvPr/>
            </p:nvSpPr>
            <p:spPr>
              <a:xfrm rot="5400000" flipH="1" flipV="1">
                <a:off x="3560773" y="1764530"/>
                <a:ext cx="349021" cy="882754"/>
              </a:xfrm>
              <a:prstGeom prst="bentArrow">
                <a:avLst>
                  <a:gd name="adj1" fmla="val 13869"/>
                  <a:gd name="adj2" fmla="val 16880"/>
                  <a:gd name="adj3" fmla="val 19468"/>
                  <a:gd name="adj4" fmla="val 4375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graphicFrame>
            <p:nvGraphicFramePr>
              <p:cNvPr id="157" name="Diagramm 156"/>
              <p:cNvGraphicFramePr/>
              <p:nvPr>
                <p:extLst>
                  <p:ext uri="{D42A27DB-BD31-4B8C-83A1-F6EECF244321}">
                    <p14:modId xmlns:p14="http://schemas.microsoft.com/office/powerpoint/2010/main" val="2793444950"/>
                  </p:ext>
                </p:extLst>
              </p:nvPr>
            </p:nvGraphicFramePr>
            <p:xfrm>
              <a:off x="3606089" y="2563918"/>
              <a:ext cx="1565609" cy="246755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27" r:lo="rId28" r:qs="rId29" r:cs="rId30"/>
              </a:graphicData>
            </a:graphic>
          </p:graphicFrame>
          <p:sp>
            <p:nvSpPr>
              <p:cNvPr id="158" name="Rechteckiger Pfeil 157"/>
              <p:cNvSpPr>
                <a:spLocks noChangeAspect="1"/>
              </p:cNvSpPr>
              <p:nvPr/>
            </p:nvSpPr>
            <p:spPr>
              <a:xfrm rot="16200000" flipV="1">
                <a:off x="4304331" y="3248560"/>
                <a:ext cx="322225" cy="755866"/>
              </a:xfrm>
              <a:prstGeom prst="bentArrow">
                <a:avLst>
                  <a:gd name="adj1" fmla="val 16460"/>
                  <a:gd name="adj2" fmla="val 15359"/>
                  <a:gd name="adj3" fmla="val 21212"/>
                  <a:gd name="adj4" fmla="val 7878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59" name="Grafik 158"/>
              <p:cNvPicPr>
                <a:picLocks noChangeAspect="1"/>
              </p:cNvPicPr>
              <p:nvPr/>
            </p:nvPicPr>
            <p:blipFill>
              <a:blip r:embed="rId3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60032" y="403900"/>
                <a:ext cx="720000" cy="312479"/>
              </a:xfrm>
              <a:prstGeom prst="rect">
                <a:avLst/>
              </a:prstGeom>
            </p:spPr>
          </p:pic>
          <p:pic>
            <p:nvPicPr>
              <p:cNvPr id="160" name="Grafik 159"/>
              <p:cNvPicPr>
                <a:picLocks noChangeAspect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39197" y="124536"/>
                <a:ext cx="720000" cy="591843"/>
              </a:xfrm>
              <a:prstGeom prst="rect">
                <a:avLst/>
              </a:prstGeom>
            </p:spPr>
          </p:pic>
          <p:graphicFrame>
            <p:nvGraphicFramePr>
              <p:cNvPr id="161" name="Diagramm 160"/>
              <p:cNvGraphicFramePr/>
              <p:nvPr>
                <p:extLst>
                  <p:ext uri="{D42A27DB-BD31-4B8C-83A1-F6EECF244321}">
                    <p14:modId xmlns:p14="http://schemas.microsoft.com/office/powerpoint/2010/main" val="3842691140"/>
                  </p:ext>
                </p:extLst>
              </p:nvPr>
            </p:nvGraphicFramePr>
            <p:xfrm>
              <a:off x="3088892" y="3020414"/>
              <a:ext cx="1346712" cy="450425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34" r:lo="rId35" r:qs="rId36" r:cs="rId37"/>
              </a:graphicData>
            </a:graphic>
          </p:graphicFrame>
          <p:graphicFrame>
            <p:nvGraphicFramePr>
              <p:cNvPr id="162" name="Diagramm 161"/>
              <p:cNvGraphicFramePr/>
              <p:nvPr>
                <p:extLst>
                  <p:ext uri="{D42A27DB-BD31-4B8C-83A1-F6EECF244321}">
                    <p14:modId xmlns:p14="http://schemas.microsoft.com/office/powerpoint/2010/main" val="4042732214"/>
                  </p:ext>
                </p:extLst>
              </p:nvPr>
            </p:nvGraphicFramePr>
            <p:xfrm>
              <a:off x="5127120" y="938478"/>
              <a:ext cx="1562140" cy="225218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39" r:lo="rId40" r:qs="rId41" r:cs="rId42"/>
              </a:graphicData>
            </a:graphic>
          </p:graphicFrame>
          <p:sp>
            <p:nvSpPr>
              <p:cNvPr id="163" name="Rechteckiger Pfeil 162"/>
              <p:cNvSpPr/>
              <p:nvPr/>
            </p:nvSpPr>
            <p:spPr>
              <a:xfrm>
                <a:off x="3437029" y="2607470"/>
                <a:ext cx="156405" cy="408700"/>
              </a:xfrm>
              <a:prstGeom prst="bentArrow">
                <a:avLst>
                  <a:gd name="adj1" fmla="val 38767"/>
                  <a:gd name="adj2" fmla="val 50000"/>
                  <a:gd name="adj3" fmla="val 44792"/>
                  <a:gd name="adj4" fmla="val 5520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Rechteckiger Pfeil 163"/>
              <p:cNvSpPr/>
              <p:nvPr/>
            </p:nvSpPr>
            <p:spPr>
              <a:xfrm flipH="1">
                <a:off x="5203029" y="2614614"/>
                <a:ext cx="161057" cy="410352"/>
              </a:xfrm>
              <a:prstGeom prst="bentArrow">
                <a:avLst>
                  <a:gd name="adj1" fmla="val 40272"/>
                  <a:gd name="adj2" fmla="val 49693"/>
                  <a:gd name="adj3" fmla="val 35874"/>
                  <a:gd name="adj4" fmla="val 38949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flatTx/>
              </a:bodyPr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5" name="Pfeil nach oben 164"/>
              <p:cNvSpPr/>
              <p:nvPr/>
            </p:nvSpPr>
            <p:spPr>
              <a:xfrm>
                <a:off x="4029610" y="2824677"/>
                <a:ext cx="104662" cy="191491"/>
              </a:xfrm>
              <a:prstGeom prst="upArrow">
                <a:avLst>
                  <a:gd name="adj1" fmla="val 46301"/>
                  <a:gd name="adj2" fmla="val 71439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166" name="Rechteckiger Pfeil 165"/>
              <p:cNvSpPr>
                <a:spLocks noChangeAspect="1"/>
              </p:cNvSpPr>
              <p:nvPr/>
            </p:nvSpPr>
            <p:spPr>
              <a:xfrm rot="16200000" flipV="1">
                <a:off x="5745885" y="3099872"/>
                <a:ext cx="276307" cy="235961"/>
              </a:xfrm>
              <a:prstGeom prst="bentArrow">
                <a:avLst>
                  <a:gd name="adj1" fmla="val 22339"/>
                  <a:gd name="adj2" fmla="val 26882"/>
                  <a:gd name="adj3" fmla="val 25000"/>
                  <a:gd name="adj4" fmla="val 4375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graphicFrame>
            <p:nvGraphicFramePr>
              <p:cNvPr id="168" name="Diagramm 167"/>
              <p:cNvGraphicFramePr/>
              <p:nvPr>
                <p:extLst>
                  <p:ext uri="{D42A27DB-BD31-4B8C-83A1-F6EECF244321}">
                    <p14:modId xmlns:p14="http://schemas.microsoft.com/office/powerpoint/2010/main" val="1032343732"/>
                  </p:ext>
                </p:extLst>
              </p:nvPr>
            </p:nvGraphicFramePr>
            <p:xfrm>
              <a:off x="2406221" y="872940"/>
              <a:ext cx="1517708" cy="35629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44" r:lo="rId45" r:qs="rId46" r:cs="rId47"/>
              </a:graphicData>
            </a:graphic>
          </p:graphicFrame>
          <p:sp>
            <p:nvSpPr>
              <p:cNvPr id="169" name="Rechteckiger Pfeil 168"/>
              <p:cNvSpPr/>
              <p:nvPr/>
            </p:nvSpPr>
            <p:spPr>
              <a:xfrm rot="16200000">
                <a:off x="4352678" y="3161228"/>
                <a:ext cx="322227" cy="930521"/>
              </a:xfrm>
              <a:prstGeom prst="bentArrow">
                <a:avLst>
                  <a:gd name="adj1" fmla="val 16771"/>
                  <a:gd name="adj2" fmla="val 17777"/>
                  <a:gd name="adj3" fmla="val 21688"/>
                  <a:gd name="adj4" fmla="val 67462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0" name="Pfeil nach oben 169"/>
              <p:cNvSpPr/>
              <p:nvPr/>
            </p:nvSpPr>
            <p:spPr>
              <a:xfrm>
                <a:off x="4738717" y="2824679"/>
                <a:ext cx="104662" cy="191490"/>
              </a:xfrm>
              <a:prstGeom prst="upArrow">
                <a:avLst>
                  <a:gd name="adj1" fmla="val 46301"/>
                  <a:gd name="adj2" fmla="val 71439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pic>
            <p:nvPicPr>
              <p:cNvPr id="171" name="Grafik 170"/>
              <p:cNvPicPr>
                <a:picLocks noChangeAspect="1"/>
              </p:cNvPicPr>
              <p:nvPr/>
            </p:nvPicPr>
            <p:blipFill>
              <a:blip r:embed="rId4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42201" y="2688033"/>
                <a:ext cx="720000" cy="417310"/>
              </a:xfrm>
              <a:prstGeom prst="rect">
                <a:avLst/>
              </a:prstGeom>
            </p:spPr>
          </p:pic>
          <p:pic>
            <p:nvPicPr>
              <p:cNvPr id="172" name="Grafik 171"/>
              <p:cNvPicPr>
                <a:picLocks noChangeAspect="1"/>
              </p:cNvPicPr>
              <p:nvPr/>
            </p:nvPicPr>
            <p:blipFill>
              <a:blip r:embed="rId4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70113" y="2824679"/>
                <a:ext cx="720000" cy="417310"/>
              </a:xfrm>
              <a:prstGeom prst="rect">
                <a:avLst/>
              </a:prstGeom>
            </p:spPr>
          </p:pic>
          <p:sp>
            <p:nvSpPr>
              <p:cNvPr id="173" name="Rechteckiger Pfeil 172"/>
              <p:cNvSpPr>
                <a:spLocks noChangeAspect="1"/>
              </p:cNvSpPr>
              <p:nvPr/>
            </p:nvSpPr>
            <p:spPr>
              <a:xfrm rot="16200000" flipV="1">
                <a:off x="5869230" y="2992410"/>
                <a:ext cx="457484" cy="1064361"/>
              </a:xfrm>
              <a:prstGeom prst="bentArrow">
                <a:avLst>
                  <a:gd name="adj1" fmla="val 11036"/>
                  <a:gd name="adj2" fmla="val 12629"/>
                  <a:gd name="adj3" fmla="val 20237"/>
                  <a:gd name="adj4" fmla="val 79763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4" name="Rechteckiger Pfeil 173"/>
              <p:cNvSpPr/>
              <p:nvPr/>
            </p:nvSpPr>
            <p:spPr>
              <a:xfrm flipH="1">
                <a:off x="6630113" y="1017112"/>
                <a:ext cx="318150" cy="1659500"/>
              </a:xfrm>
              <a:prstGeom prst="bentArrow">
                <a:avLst>
                  <a:gd name="adj1" fmla="val 17754"/>
                  <a:gd name="adj2" fmla="val 22924"/>
                  <a:gd name="adj3" fmla="val 20993"/>
                  <a:gd name="adj4" fmla="val 79007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flatTx/>
              </a:bodyPr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graphicFrame>
            <p:nvGraphicFramePr>
              <p:cNvPr id="175" name="Diagramm 174"/>
              <p:cNvGraphicFramePr/>
              <p:nvPr>
                <p:extLst>
                  <p:ext uri="{D42A27DB-BD31-4B8C-83A1-F6EECF244321}">
                    <p14:modId xmlns:p14="http://schemas.microsoft.com/office/powerpoint/2010/main" val="1939711160"/>
                  </p:ext>
                </p:extLst>
              </p:nvPr>
            </p:nvGraphicFramePr>
            <p:xfrm>
              <a:off x="7062201" y="2725945"/>
              <a:ext cx="1344273" cy="45140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50" r:lo="rId51" r:qs="rId52" r:cs="rId53"/>
              </a:graphicData>
            </a:graphic>
          </p:graphicFrame>
          <p:pic>
            <p:nvPicPr>
              <p:cNvPr id="176" name="Grafik 175"/>
              <p:cNvPicPr>
                <a:picLocks noChangeAspect="1"/>
              </p:cNvPicPr>
              <p:nvPr/>
            </p:nvPicPr>
            <p:blipFill>
              <a:blip r:embed="rId4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02392" y="1346525"/>
                <a:ext cx="720000" cy="417310"/>
              </a:xfrm>
              <a:prstGeom prst="rect">
                <a:avLst/>
              </a:prstGeom>
            </p:spPr>
          </p:pic>
          <p:pic>
            <p:nvPicPr>
              <p:cNvPr id="177" name="Grafik 176"/>
              <p:cNvPicPr>
                <a:picLocks noChangeAspect="1"/>
              </p:cNvPicPr>
              <p:nvPr/>
            </p:nvPicPr>
            <p:blipFill>
              <a:blip r:embed="rId4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60610" y="1463288"/>
                <a:ext cx="720000" cy="417310"/>
              </a:xfrm>
              <a:prstGeom prst="rect">
                <a:avLst/>
              </a:prstGeom>
            </p:spPr>
          </p:pic>
          <p:graphicFrame>
            <p:nvGraphicFramePr>
              <p:cNvPr id="178" name="Diagramm 177"/>
              <p:cNvGraphicFramePr/>
              <p:nvPr>
                <p:extLst>
                  <p:ext uri="{D42A27DB-BD31-4B8C-83A1-F6EECF244321}">
                    <p14:modId xmlns:p14="http://schemas.microsoft.com/office/powerpoint/2010/main" val="3078583270"/>
                  </p:ext>
                </p:extLst>
              </p:nvPr>
            </p:nvGraphicFramePr>
            <p:xfrm>
              <a:off x="1614579" y="1338715"/>
              <a:ext cx="1344273" cy="692683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55" r:lo="rId56" r:qs="rId57" r:cs="rId58"/>
              </a:graphicData>
            </a:graphic>
          </p:graphicFrame>
          <p:sp>
            <p:nvSpPr>
              <p:cNvPr id="179" name="Abgerundetes Rechteck 4"/>
              <p:cNvSpPr/>
              <p:nvPr/>
            </p:nvSpPr>
            <p:spPr>
              <a:xfrm>
                <a:off x="5637517" y="489909"/>
                <a:ext cx="1323711" cy="190038"/>
              </a:xfrm>
              <a:prstGeom prst="rect">
                <a:avLst/>
              </a:prstGeom>
              <a:solidFill>
                <a:srgbClr val="C00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4290" tIns="34290" rIns="34290" bIns="34290" numCol="1" spcCol="1270" anchor="ctr" anchorCtr="0">
                <a:noAutofit/>
              </a:bodyPr>
              <a:lstStyle/>
              <a:p>
                <a:pPr lvl="0" algn="ctr" defTabSz="40005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1000" dirty="0" smtClean="0"/>
                  <a:t>Fachhochschule</a:t>
                </a:r>
                <a:endParaRPr lang="de-DE" sz="900" kern="1200" dirty="0"/>
              </a:p>
            </p:txBody>
          </p:sp>
          <p:graphicFrame>
            <p:nvGraphicFramePr>
              <p:cNvPr id="180" name="Diagramm 179"/>
              <p:cNvGraphicFramePr/>
              <p:nvPr>
                <p:extLst>
                  <p:ext uri="{D42A27DB-BD31-4B8C-83A1-F6EECF244321}">
                    <p14:modId xmlns:p14="http://schemas.microsoft.com/office/powerpoint/2010/main" val="4019155583"/>
                  </p:ext>
                </p:extLst>
              </p:nvPr>
            </p:nvGraphicFramePr>
            <p:xfrm>
              <a:off x="4101877" y="2248912"/>
              <a:ext cx="570890" cy="208359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60" r:lo="rId61" r:qs="rId62" r:cs="rId63"/>
              </a:graphicData>
            </a:graphic>
          </p:graphicFrame>
          <p:sp>
            <p:nvSpPr>
              <p:cNvPr id="181" name="Rechteckiger Pfeil 180"/>
              <p:cNvSpPr/>
              <p:nvPr/>
            </p:nvSpPr>
            <p:spPr>
              <a:xfrm>
                <a:off x="4059031" y="2283719"/>
                <a:ext cx="134783" cy="252769"/>
              </a:xfrm>
              <a:prstGeom prst="bentArrow">
                <a:avLst>
                  <a:gd name="adj1" fmla="val 42193"/>
                  <a:gd name="adj2" fmla="val 50000"/>
                  <a:gd name="adj3" fmla="val 41168"/>
                  <a:gd name="adj4" fmla="val 31204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2" name="Abgerundetes Rechteck 4"/>
              <p:cNvSpPr/>
              <p:nvPr/>
            </p:nvSpPr>
            <p:spPr>
              <a:xfrm>
                <a:off x="1929172" y="487195"/>
                <a:ext cx="1446259" cy="190038"/>
              </a:xfrm>
              <a:prstGeom prst="rect">
                <a:avLst/>
              </a:prstGeom>
              <a:solidFill>
                <a:srgbClr val="C00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4290" tIns="34290" rIns="34290" bIns="34290" numCol="1" spcCol="1270" anchor="ctr" anchorCtr="0">
                <a:noAutofit/>
              </a:bodyPr>
              <a:lstStyle/>
              <a:p>
                <a:pPr lvl="0" algn="ctr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1000" dirty="0"/>
                  <a:t>Universität </a:t>
                </a:r>
                <a:r>
                  <a:rPr lang="de-DE" sz="1000" dirty="0" smtClean="0"/>
                  <a:t>/ Hochschule</a:t>
                </a:r>
                <a:endParaRPr lang="de-DE" sz="900" kern="1200" dirty="0"/>
              </a:p>
            </p:txBody>
          </p:sp>
          <p:pic>
            <p:nvPicPr>
              <p:cNvPr id="183" name="Grafik 182"/>
              <p:cNvPicPr>
                <a:picLocks noChangeAspect="1"/>
              </p:cNvPicPr>
              <p:nvPr/>
            </p:nvPicPr>
            <p:blipFill>
              <a:blip r:embed="rId4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99352" y="1446938"/>
                <a:ext cx="720000" cy="417310"/>
              </a:xfrm>
              <a:prstGeom prst="rect">
                <a:avLst/>
              </a:prstGeom>
            </p:spPr>
          </p:pic>
          <p:pic>
            <p:nvPicPr>
              <p:cNvPr id="184" name="Grafik 183"/>
              <p:cNvPicPr>
                <a:picLocks noChangeAspect="1"/>
              </p:cNvPicPr>
              <p:nvPr/>
            </p:nvPicPr>
            <p:blipFill>
              <a:blip r:embed="rId4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24037" y="1445839"/>
                <a:ext cx="720000" cy="417310"/>
              </a:xfrm>
              <a:prstGeom prst="rect">
                <a:avLst/>
              </a:prstGeom>
            </p:spPr>
          </p:pic>
          <p:sp>
            <p:nvSpPr>
              <p:cNvPr id="185" name="Pfeil nach oben 184"/>
              <p:cNvSpPr/>
              <p:nvPr/>
            </p:nvSpPr>
            <p:spPr>
              <a:xfrm>
                <a:off x="4397905" y="2068095"/>
                <a:ext cx="113060" cy="161193"/>
              </a:xfrm>
              <a:prstGeom prst="upArrow">
                <a:avLst>
                  <a:gd name="adj1" fmla="val 46161"/>
                  <a:gd name="adj2" fmla="val 65776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186" name="Pfeil nach oben 185"/>
              <p:cNvSpPr/>
              <p:nvPr/>
            </p:nvSpPr>
            <p:spPr>
              <a:xfrm rot="16200000">
                <a:off x="5109660" y="1368112"/>
                <a:ext cx="124078" cy="704688"/>
              </a:xfrm>
              <a:prstGeom prst="upArrow">
                <a:avLst>
                  <a:gd name="adj1" fmla="val 42323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187" name="Rechteckiger Pfeil 186"/>
              <p:cNvSpPr/>
              <p:nvPr/>
            </p:nvSpPr>
            <p:spPr>
              <a:xfrm rot="16200000">
                <a:off x="3291577" y="3542989"/>
                <a:ext cx="333727" cy="133651"/>
              </a:xfrm>
              <a:prstGeom prst="bentArrow">
                <a:avLst>
                  <a:gd name="adj1" fmla="val 40420"/>
                  <a:gd name="adj2" fmla="val 39428"/>
                  <a:gd name="adj3" fmla="val 48681"/>
                  <a:gd name="adj4" fmla="val 9457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8" name="Rechteckiger Pfeil 187"/>
              <p:cNvSpPr/>
              <p:nvPr/>
            </p:nvSpPr>
            <p:spPr>
              <a:xfrm>
                <a:off x="5929928" y="2090451"/>
                <a:ext cx="1018335" cy="268153"/>
              </a:xfrm>
              <a:prstGeom prst="bentArrow">
                <a:avLst>
                  <a:gd name="adj1" fmla="val 21429"/>
                  <a:gd name="adj2" fmla="val 12595"/>
                  <a:gd name="adj3" fmla="val 19089"/>
                  <a:gd name="adj4" fmla="val 9812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flatTx/>
              </a:bodyPr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9" name="Pfeil nach oben 188"/>
              <p:cNvSpPr/>
              <p:nvPr/>
            </p:nvSpPr>
            <p:spPr>
              <a:xfrm>
                <a:off x="5821999" y="1183853"/>
                <a:ext cx="124078" cy="269607"/>
              </a:xfrm>
              <a:prstGeom prst="upArrow">
                <a:avLst>
                  <a:gd name="adj1" fmla="val 42323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190" name="Rechteckiger Pfeil 189"/>
              <p:cNvSpPr/>
              <p:nvPr/>
            </p:nvSpPr>
            <p:spPr>
              <a:xfrm flipH="1">
                <a:off x="4692346" y="2278856"/>
                <a:ext cx="151032" cy="257175"/>
              </a:xfrm>
              <a:prstGeom prst="bentArrow">
                <a:avLst>
                  <a:gd name="adj1" fmla="val 42606"/>
                  <a:gd name="adj2" fmla="val 50000"/>
                  <a:gd name="adj3" fmla="val 33327"/>
                  <a:gd name="adj4" fmla="val 35934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1" name="Pfeil nach oben 190"/>
              <p:cNvSpPr/>
              <p:nvPr/>
            </p:nvSpPr>
            <p:spPr>
              <a:xfrm>
                <a:off x="5226319" y="3453880"/>
                <a:ext cx="124078" cy="178211"/>
              </a:xfrm>
              <a:prstGeom prst="upArrow">
                <a:avLst>
                  <a:gd name="adj1" fmla="val 42323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graphicFrame>
            <p:nvGraphicFramePr>
              <p:cNvPr id="192" name="Diagramm 191"/>
              <p:cNvGraphicFramePr/>
              <p:nvPr>
                <p:extLst>
                  <p:ext uri="{D42A27DB-BD31-4B8C-83A1-F6EECF244321}">
                    <p14:modId xmlns:p14="http://schemas.microsoft.com/office/powerpoint/2010/main" val="1079855146"/>
                  </p:ext>
                </p:extLst>
              </p:nvPr>
            </p:nvGraphicFramePr>
            <p:xfrm>
              <a:off x="-18462" y="3441231"/>
              <a:ext cx="546692" cy="22493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65" r:lo="rId66" r:qs="rId67" r:cs="rId68"/>
              </a:graphicData>
            </a:graphic>
          </p:graphicFrame>
          <p:graphicFrame>
            <p:nvGraphicFramePr>
              <p:cNvPr id="193" name="Diagramm 192"/>
              <p:cNvGraphicFramePr/>
              <p:nvPr>
                <p:extLst>
                  <p:ext uri="{D42A27DB-BD31-4B8C-83A1-F6EECF244321}">
                    <p14:modId xmlns:p14="http://schemas.microsoft.com/office/powerpoint/2010/main" val="2748181406"/>
                  </p:ext>
                </p:extLst>
              </p:nvPr>
            </p:nvGraphicFramePr>
            <p:xfrm>
              <a:off x="-18462" y="3133058"/>
              <a:ext cx="542894" cy="226800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70" r:lo="rId71" r:qs="rId72" r:cs="rId73"/>
              </a:graphicData>
            </a:graphic>
          </p:graphicFrame>
          <p:graphicFrame>
            <p:nvGraphicFramePr>
              <p:cNvPr id="194" name="Diagramm 193"/>
              <p:cNvGraphicFramePr/>
              <p:nvPr>
                <p:extLst>
                  <p:ext uri="{D42A27DB-BD31-4B8C-83A1-F6EECF244321}">
                    <p14:modId xmlns:p14="http://schemas.microsoft.com/office/powerpoint/2010/main" val="3849553515"/>
                  </p:ext>
                </p:extLst>
              </p:nvPr>
            </p:nvGraphicFramePr>
            <p:xfrm>
              <a:off x="581676" y="3112590"/>
              <a:ext cx="2511539" cy="582711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75" r:lo="rId76" r:qs="rId77" r:cs="rId78"/>
              </a:graphicData>
            </a:graphic>
          </p:graphicFrame>
          <p:sp>
            <p:nvSpPr>
              <p:cNvPr id="195" name="Pfeil nach oben 194"/>
              <p:cNvSpPr/>
              <p:nvPr/>
            </p:nvSpPr>
            <p:spPr>
              <a:xfrm>
                <a:off x="3970306" y="725076"/>
                <a:ext cx="124078" cy="132982"/>
              </a:xfrm>
              <a:prstGeom prst="upArrow">
                <a:avLst>
                  <a:gd name="adj1" fmla="val 42323"/>
                  <a:gd name="adj2" fmla="val 50000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196" name="Kreis 195"/>
              <p:cNvSpPr/>
              <p:nvPr/>
            </p:nvSpPr>
            <p:spPr>
              <a:xfrm>
                <a:off x="3800505" y="872939"/>
                <a:ext cx="356296" cy="356296"/>
              </a:xfrm>
              <a:prstGeom prst="pie">
                <a:avLst>
                  <a:gd name="adj1" fmla="val 5400000"/>
                  <a:gd name="adj2" fmla="val 16200000"/>
                </a:avLst>
              </a:prstGeom>
              <a:noFill/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97" name="Freihandform 196"/>
              <p:cNvSpPr/>
              <p:nvPr/>
            </p:nvSpPr>
            <p:spPr>
              <a:xfrm>
                <a:off x="3871638" y="872939"/>
                <a:ext cx="1233880" cy="356296"/>
              </a:xfrm>
              <a:custGeom>
                <a:avLst/>
                <a:gdLst>
                  <a:gd name="connsiteX0" fmla="*/ 0 w 1233880"/>
                  <a:gd name="connsiteY0" fmla="*/ 0 h 356296"/>
                  <a:gd name="connsiteX1" fmla="*/ 1233880 w 1233880"/>
                  <a:gd name="connsiteY1" fmla="*/ 0 h 356296"/>
                  <a:gd name="connsiteX2" fmla="*/ 1233880 w 1233880"/>
                  <a:gd name="connsiteY2" fmla="*/ 356296 h 356296"/>
                  <a:gd name="connsiteX3" fmla="*/ 0 w 1233880"/>
                  <a:gd name="connsiteY3" fmla="*/ 356296 h 356296"/>
                  <a:gd name="connsiteX4" fmla="*/ 0 w 1233880"/>
                  <a:gd name="connsiteY4" fmla="*/ 0 h 35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3880" h="356296">
                    <a:moveTo>
                      <a:pt x="0" y="0"/>
                    </a:moveTo>
                    <a:lnTo>
                      <a:pt x="1233880" y="0"/>
                    </a:lnTo>
                    <a:lnTo>
                      <a:pt x="1233880" y="356296"/>
                    </a:lnTo>
                    <a:lnTo>
                      <a:pt x="0" y="35629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solidFill>
                  <a:srgbClr val="FF0000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1910" tIns="41910" rIns="41910" bIns="41910" numCol="1" spcCol="1270" anchor="ctr" anchorCtr="0">
                <a:noAutofit/>
              </a:bodyPr>
              <a:lstStyle/>
              <a:p>
                <a:pPr lvl="0" algn="ctr" defTabSz="48895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1100" b="1" kern="1200" dirty="0" smtClean="0"/>
                  <a:t>fachgebundene Hochschulreife</a:t>
                </a:r>
                <a:endParaRPr lang="de-DE" sz="900" b="1" kern="1200" dirty="0"/>
              </a:p>
            </p:txBody>
          </p:sp>
          <p:sp>
            <p:nvSpPr>
              <p:cNvPr id="198" name="Pfeil nach oben 197"/>
              <p:cNvSpPr/>
              <p:nvPr/>
            </p:nvSpPr>
            <p:spPr>
              <a:xfrm>
                <a:off x="3323621" y="1259256"/>
                <a:ext cx="124078" cy="92259"/>
              </a:xfrm>
              <a:prstGeom prst="upArrow">
                <a:avLst>
                  <a:gd name="adj1" fmla="val 42323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199" name="Pfeil nach oben 198"/>
              <p:cNvSpPr/>
              <p:nvPr/>
            </p:nvSpPr>
            <p:spPr>
              <a:xfrm>
                <a:off x="5365558" y="727457"/>
                <a:ext cx="124078" cy="188476"/>
              </a:xfrm>
              <a:prstGeom prst="upArrow">
                <a:avLst>
                  <a:gd name="adj1" fmla="val 42323"/>
                  <a:gd name="adj2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200" name="Pfeil nach oben 199"/>
              <p:cNvSpPr/>
              <p:nvPr/>
            </p:nvSpPr>
            <p:spPr>
              <a:xfrm>
                <a:off x="3531395" y="720314"/>
                <a:ext cx="124078" cy="132103"/>
              </a:xfrm>
              <a:prstGeom prst="upArrow">
                <a:avLst>
                  <a:gd name="adj1" fmla="val 42323"/>
                  <a:gd name="adj2" fmla="val 50000"/>
                </a:avLst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201" name="Rechteckiger Pfeil 200"/>
              <p:cNvSpPr/>
              <p:nvPr/>
            </p:nvSpPr>
            <p:spPr>
              <a:xfrm rot="5400000" flipH="1" flipV="1">
                <a:off x="3971559" y="967623"/>
                <a:ext cx="182844" cy="766110"/>
              </a:xfrm>
              <a:prstGeom prst="bentArrow">
                <a:avLst>
                  <a:gd name="adj1" fmla="val 24164"/>
                  <a:gd name="adj2" fmla="val 27175"/>
                  <a:gd name="adj3" fmla="val 25000"/>
                  <a:gd name="adj4" fmla="val 55761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2" name="Pfeil nach oben 201"/>
              <p:cNvSpPr/>
              <p:nvPr/>
            </p:nvSpPr>
            <p:spPr>
              <a:xfrm>
                <a:off x="4882289" y="725076"/>
                <a:ext cx="124078" cy="132982"/>
              </a:xfrm>
              <a:prstGeom prst="upArrow">
                <a:avLst>
                  <a:gd name="adj1" fmla="val 42323"/>
                  <a:gd name="adj2" fmla="val 50000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</p:grpSp>
        <p:grpSp>
          <p:nvGrpSpPr>
            <p:cNvPr id="121" name="Gruppieren 120"/>
            <p:cNvGrpSpPr/>
            <p:nvPr/>
          </p:nvGrpSpPr>
          <p:grpSpPr>
            <a:xfrm>
              <a:off x="3609727" y="3655505"/>
              <a:ext cx="500881" cy="224936"/>
              <a:chOff x="62474" y="0"/>
              <a:chExt cx="500881" cy="224936"/>
            </a:xfrm>
          </p:grpSpPr>
          <p:sp>
            <p:nvSpPr>
              <p:cNvPr id="145" name="Rechteck 144"/>
              <p:cNvSpPr/>
              <p:nvPr/>
            </p:nvSpPr>
            <p:spPr>
              <a:xfrm>
                <a:off x="62474" y="0"/>
                <a:ext cx="500881" cy="224936"/>
              </a:xfrm>
              <a:prstGeom prst="rect">
                <a:avLst/>
              </a:prstGeom>
              <a:solidFill>
                <a:schemeClr val="bg1">
                  <a:lumMod val="95000"/>
                  <a:alpha val="90000"/>
                </a:schemeClr>
              </a:solidFill>
            </p:spPr>
            <p:style>
              <a:lnRef idx="2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48" name="Rechteck 147"/>
              <p:cNvSpPr/>
              <p:nvPr/>
            </p:nvSpPr>
            <p:spPr>
              <a:xfrm>
                <a:off x="62474" y="0"/>
                <a:ext cx="500881" cy="22493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1910" tIns="41910" rIns="41910" bIns="41910" numCol="1" spcCol="1270" anchor="ctr" anchorCtr="0">
                <a:noAutofit/>
              </a:bodyPr>
              <a:lstStyle/>
              <a:p>
                <a:pPr lvl="0" algn="ctr" defTabSz="48895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1100" b="1" kern="1200" dirty="0" smtClean="0"/>
                  <a:t>e/ESA</a:t>
                </a:r>
                <a:endParaRPr lang="de-DE" sz="1200" kern="1200" dirty="0"/>
              </a:p>
            </p:txBody>
          </p:sp>
        </p:grpSp>
        <p:grpSp>
          <p:nvGrpSpPr>
            <p:cNvPr id="122" name="Gruppieren 121"/>
            <p:cNvGrpSpPr/>
            <p:nvPr/>
          </p:nvGrpSpPr>
          <p:grpSpPr>
            <a:xfrm>
              <a:off x="5063870" y="3655505"/>
              <a:ext cx="525600" cy="226800"/>
              <a:chOff x="113400" y="0"/>
              <a:chExt cx="525600" cy="226800"/>
            </a:xfrm>
          </p:grpSpPr>
          <p:sp>
            <p:nvSpPr>
              <p:cNvPr id="137" name="Rechteck 136"/>
              <p:cNvSpPr/>
              <p:nvPr/>
            </p:nvSpPr>
            <p:spPr>
              <a:xfrm>
                <a:off x="113400" y="0"/>
                <a:ext cx="525600" cy="226800"/>
              </a:xfrm>
              <a:prstGeom prst="rect">
                <a:avLst/>
              </a:prstGeom>
              <a:solidFill>
                <a:schemeClr val="bg1">
                  <a:lumMod val="95000"/>
                  <a:alpha val="90000"/>
                </a:schemeClr>
              </a:solidFill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39" name="Rechteck 138"/>
              <p:cNvSpPr/>
              <p:nvPr/>
            </p:nvSpPr>
            <p:spPr>
              <a:xfrm>
                <a:off x="113400" y="0"/>
                <a:ext cx="500400" cy="22680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1910" tIns="41910" rIns="41910" bIns="41910" numCol="1" spcCol="1270" anchor="ctr" anchorCtr="0">
                <a:noAutofit/>
              </a:bodyPr>
              <a:lstStyle/>
              <a:p>
                <a:pPr lvl="0" algn="ctr" defTabSz="48895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1100" b="1" kern="1200" dirty="0" smtClean="0"/>
                  <a:t>MSA</a:t>
                </a:r>
                <a:endParaRPr lang="de-DE" sz="1300" kern="1200" dirty="0"/>
              </a:p>
            </p:txBody>
          </p:sp>
        </p:grpSp>
        <p:pic>
          <p:nvPicPr>
            <p:cNvPr id="123" name="Grafik 122"/>
            <p:cNvPicPr>
              <a:picLocks noChangeAspect="1"/>
            </p:cNvPicPr>
            <p:nvPr/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51433" y="1599326"/>
              <a:ext cx="720000" cy="4173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60557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2" presetClass="exit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" presetClass="exit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2" presetClass="exit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9" dur="1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" presetClass="exit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3" dur="1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xit" presetSubtype="2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7" dur="3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3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" presetClass="entr" presetSubtype="2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3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3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1" accel="75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1" accel="75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3" presetClass="emph" presetSubtype="2" fill="hold" grpId="1" nodeType="withEffect">
                                  <p:stCondLst>
                                    <p:cond delay="9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3" dur="4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300"/>
                            </p:stCondLst>
                            <p:childTnLst>
                              <p:par>
                                <p:cTn id="4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  <p:bldP spid="75" grpId="0" build="p"/>
      <p:bldP spid="75" grpId="1" build="p"/>
      <p:bldP spid="11" grpId="0" animBg="1"/>
      <p:bldP spid="17" grpId="0"/>
      <p:bldP spid="36" grpId="0"/>
      <p:bldP spid="84" grpId="0"/>
      <p:bldP spid="11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83141" y="4295180"/>
            <a:ext cx="360000" cy="360000"/>
          </a:xfrm>
        </p:spPr>
        <p:txBody>
          <a:bodyPr>
            <a:noAutofit/>
          </a:bodyPr>
          <a:lstStyle/>
          <a:p>
            <a:r>
              <a:rPr lang="de-DE" sz="1800" dirty="0" smtClean="0"/>
              <a:t>5</a:t>
            </a:r>
            <a:endParaRPr lang="de-DE" sz="1800" dirty="0"/>
          </a:p>
        </p:txBody>
      </p:sp>
      <p:sp>
        <p:nvSpPr>
          <p:cNvPr id="88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48812" y="4352070"/>
            <a:ext cx="6438102" cy="246221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… und nach der Schule?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6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51997" y="4352400"/>
            <a:ext cx="6438102" cy="246221"/>
          </a:xfrm>
        </p:spPr>
        <p:txBody>
          <a:bodyPr/>
          <a:lstStyle/>
          <a:p>
            <a:r>
              <a:rPr lang="de-DE" dirty="0" smtClean="0"/>
              <a:t>Ihre Rolle als Eltern</a:t>
            </a:r>
            <a:endParaRPr lang="de-DE" dirty="0"/>
          </a:p>
        </p:txBody>
      </p:sp>
      <p:sp>
        <p:nvSpPr>
          <p:cNvPr id="85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83904" y="4295220"/>
            <a:ext cx="360000" cy="360000"/>
          </a:xfrm>
        </p:spPr>
        <p:txBody>
          <a:bodyPr>
            <a:noAutofit/>
          </a:bodyPr>
          <a:lstStyle/>
          <a:p>
            <a:r>
              <a:rPr lang="de-DE" sz="1800" dirty="0" smtClean="0"/>
              <a:t>6</a:t>
            </a:r>
            <a:endParaRPr lang="de-DE" sz="1800" dirty="0"/>
          </a:p>
        </p:txBody>
      </p:sp>
      <p:sp>
        <p:nvSpPr>
          <p:cNvPr id="11" name="Textplatzhalter 10" hidden="1"/>
          <p:cNvSpPr>
            <a:spLocks noGrp="1"/>
          </p:cNvSpPr>
          <p:nvPr>
            <p:ph type="body" sz="quarter" idx="18"/>
          </p:nvPr>
        </p:nvSpPr>
        <p:spPr>
          <a:xfrm>
            <a:off x="1982093" y="4295257"/>
            <a:ext cx="360000" cy="360000"/>
          </a:xfrm>
        </p:spPr>
        <p:txBody>
          <a:bodyPr/>
          <a:lstStyle/>
          <a:p>
            <a:r>
              <a:rPr lang="de-DE" sz="1800" dirty="0" smtClean="0"/>
              <a:t>5</a:t>
            </a:r>
            <a:endParaRPr lang="de-DE" sz="1800" dirty="0"/>
          </a:p>
        </p:txBody>
      </p:sp>
      <p:sp>
        <p:nvSpPr>
          <p:cNvPr id="74" name="Textplatzhalter 10" hidden="1"/>
          <p:cNvSpPr>
            <a:spLocks noGrp="1"/>
          </p:cNvSpPr>
          <p:nvPr>
            <p:ph type="body" sz="quarter" idx="18"/>
          </p:nvPr>
        </p:nvSpPr>
        <p:spPr>
          <a:xfrm>
            <a:off x="1983130" y="4295257"/>
            <a:ext cx="360000" cy="360000"/>
          </a:xfrm>
        </p:spPr>
        <p:txBody>
          <a:bodyPr>
            <a:noAutofit/>
          </a:bodyPr>
          <a:lstStyle/>
          <a:p>
            <a:r>
              <a:rPr lang="de-DE" sz="1800" dirty="0" smtClean="0"/>
              <a:t>6</a:t>
            </a:r>
            <a:endParaRPr lang="de-DE" sz="1800" dirty="0"/>
          </a:p>
        </p:txBody>
      </p:sp>
      <p:sp>
        <p:nvSpPr>
          <p:cNvPr id="75" name="Textplatzhalter 16" hidden="1"/>
          <p:cNvSpPr>
            <a:spLocks noGrp="1"/>
          </p:cNvSpPr>
          <p:nvPr>
            <p:ph type="body" sz="quarter" idx="24"/>
          </p:nvPr>
        </p:nvSpPr>
        <p:spPr>
          <a:xfrm>
            <a:off x="2451182" y="4352147"/>
            <a:ext cx="6438102" cy="246221"/>
          </a:xfrm>
        </p:spPr>
        <p:txBody>
          <a:bodyPr/>
          <a:lstStyle/>
          <a:p>
            <a:r>
              <a:rPr lang="de-DE" dirty="0" smtClean="0"/>
              <a:t>Ihre Rolle als Eltern</a:t>
            </a:r>
            <a:endParaRPr lang="de-DE" dirty="0"/>
          </a:p>
        </p:txBody>
      </p:sp>
      <p:sp>
        <p:nvSpPr>
          <p:cNvPr id="17" name="Textplatzhalter 16" hidden="1"/>
          <p:cNvSpPr>
            <a:spLocks noGrp="1"/>
          </p:cNvSpPr>
          <p:nvPr>
            <p:ph type="body" sz="quarter" idx="24"/>
          </p:nvPr>
        </p:nvSpPr>
        <p:spPr>
          <a:xfrm>
            <a:off x="2450145" y="4352147"/>
            <a:ext cx="6438102" cy="246221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… und nach der Schule?</a:t>
            </a:r>
            <a:endParaRPr lang="de-DE" dirty="0">
              <a:solidFill>
                <a:schemeClr val="bg1"/>
              </a:solidFill>
            </a:endParaRPr>
          </a:p>
        </p:txBody>
      </p:sp>
      <p:graphicFrame>
        <p:nvGraphicFramePr>
          <p:cNvPr id="62" name="Diagramm 61" hidden="1"/>
          <p:cNvGraphicFramePr/>
          <p:nvPr>
            <p:extLst>
              <p:ext uri="{D42A27DB-BD31-4B8C-83A1-F6EECF244321}">
                <p14:modId xmlns:p14="http://schemas.microsoft.com/office/powerpoint/2010/main" val="2951169013"/>
              </p:ext>
            </p:extLst>
          </p:nvPr>
        </p:nvGraphicFramePr>
        <p:xfrm>
          <a:off x="247423" y="3072978"/>
          <a:ext cx="5657620" cy="2561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2049" name="Gruppieren 2048" hidden="1"/>
          <p:cNvGrpSpPr/>
          <p:nvPr/>
        </p:nvGrpSpPr>
        <p:grpSpPr>
          <a:xfrm>
            <a:off x="3414255" y="918889"/>
            <a:ext cx="2128241" cy="3123977"/>
            <a:chOff x="3414255" y="918889"/>
            <a:chExt cx="2128241" cy="3123977"/>
          </a:xfrm>
        </p:grpSpPr>
        <p:pic>
          <p:nvPicPr>
            <p:cNvPr id="132" name="Grafik 131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58864">
              <a:off x="3414255" y="3607023"/>
              <a:ext cx="648000" cy="435843"/>
            </a:xfrm>
            <a:prstGeom prst="rect">
              <a:avLst/>
            </a:prstGeom>
            <a:noFill/>
            <a:effectLst>
              <a:outerShdw blurRad="50800" dist="50800" dir="5400000" algn="ctr" rotWithShape="0">
                <a:srgbClr val="000000">
                  <a:alpha val="13000"/>
                </a:srgbClr>
              </a:outerShdw>
            </a:effectLst>
          </p:spPr>
        </p:pic>
        <p:pic>
          <p:nvPicPr>
            <p:cNvPr id="134" name="Grafik 133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58864">
              <a:off x="3514520" y="2510883"/>
              <a:ext cx="648000" cy="435843"/>
            </a:xfrm>
            <a:prstGeom prst="rect">
              <a:avLst/>
            </a:prstGeom>
            <a:noFill/>
            <a:effectLst>
              <a:outerShdw blurRad="50800" dist="50800" dir="5400000" algn="ctr" rotWithShape="0">
                <a:srgbClr val="000000">
                  <a:alpha val="13000"/>
                </a:srgbClr>
              </a:outerShdw>
            </a:effectLst>
          </p:spPr>
        </p:pic>
        <p:pic>
          <p:nvPicPr>
            <p:cNvPr id="129" name="Grafik 128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58864">
              <a:off x="3487964" y="918889"/>
              <a:ext cx="648000" cy="435843"/>
            </a:xfrm>
            <a:prstGeom prst="rect">
              <a:avLst/>
            </a:prstGeom>
            <a:noFill/>
            <a:effectLst>
              <a:outerShdw blurRad="50800" dist="50800" dir="5400000" algn="ctr" rotWithShape="0">
                <a:srgbClr val="000000">
                  <a:alpha val="13000"/>
                </a:srgbClr>
              </a:outerShdw>
            </a:effectLst>
          </p:spPr>
        </p:pic>
        <p:pic>
          <p:nvPicPr>
            <p:cNvPr id="135" name="Grafik 13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93878">
              <a:off x="4461889" y="965932"/>
              <a:ext cx="648000" cy="435843"/>
            </a:xfrm>
            <a:prstGeom prst="rect">
              <a:avLst/>
            </a:prstGeom>
            <a:noFill/>
            <a:effectLst>
              <a:outerShdw blurRad="50800" dist="50800" dir="5400000" algn="ctr" rotWithShape="0">
                <a:srgbClr val="000000">
                  <a:alpha val="13000"/>
                </a:srgbClr>
              </a:outerShdw>
            </a:effectLst>
          </p:spPr>
        </p:pic>
        <p:pic>
          <p:nvPicPr>
            <p:cNvPr id="136" name="Grafik 1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58864">
              <a:off x="4894496" y="3596615"/>
              <a:ext cx="648000" cy="435843"/>
            </a:xfrm>
            <a:prstGeom prst="rect">
              <a:avLst/>
            </a:prstGeom>
            <a:noFill/>
            <a:effectLst>
              <a:outerShdw blurRad="50800" dist="50800" dir="5400000" algn="ctr" rotWithShape="0">
                <a:srgbClr val="000000">
                  <a:alpha val="13000"/>
                </a:srgbClr>
              </a:outerShdw>
            </a:effectLst>
          </p:spPr>
        </p:pic>
        <p:pic>
          <p:nvPicPr>
            <p:cNvPr id="167" name="Grafik 166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258864">
              <a:off x="4053006" y="2132961"/>
              <a:ext cx="648000" cy="435843"/>
            </a:xfrm>
            <a:prstGeom prst="rect">
              <a:avLst/>
            </a:prstGeom>
            <a:noFill/>
            <a:effectLst>
              <a:outerShdw blurRad="50800" dist="50800" dir="5400000" algn="ctr" rotWithShape="0">
                <a:srgbClr val="000000">
                  <a:alpha val="13000"/>
                </a:srgbClr>
              </a:outerShdw>
            </a:effectLst>
          </p:spPr>
        </p:pic>
      </p:grpSp>
      <p:sp>
        <p:nvSpPr>
          <p:cNvPr id="186" name="Pfeil nach oben 185" hidden="1"/>
          <p:cNvSpPr/>
          <p:nvPr/>
        </p:nvSpPr>
        <p:spPr>
          <a:xfrm>
            <a:off x="5419516" y="727457"/>
            <a:ext cx="124078" cy="188476"/>
          </a:xfrm>
          <a:prstGeom prst="upArrow">
            <a:avLst>
              <a:gd name="adj1" fmla="val 42323"/>
              <a:gd name="adj2" fmla="val 5000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smtClean="0"/>
          </a:p>
        </p:txBody>
      </p:sp>
      <p:sp>
        <p:nvSpPr>
          <p:cNvPr id="92" name="object 6"/>
          <p:cNvSpPr>
            <a:spLocks noGrp="1"/>
          </p:cNvSpPr>
          <p:nvPr>
            <p:ph type="body" idx="4294967295"/>
          </p:nvPr>
        </p:nvSpPr>
        <p:spPr>
          <a:xfrm>
            <a:off x="2109420" y="576542"/>
            <a:ext cx="5148262" cy="2822575"/>
          </a:xfrm>
          <a:prstGeom prst="rect">
            <a:avLst/>
          </a:prstGeom>
          <a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artisticBlur radius="12"/>
                      </a14:imgEffect>
                      <a14:imgEffect>
                        <a14:sharpenSoften amount="-75000"/>
                      </a14:imgEffect>
                      <a14:imgEffect>
                        <a14:colorTemperature colorTemp="11500"/>
                      </a14:imgEffect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endParaRPr lang="de-DE" dirty="0"/>
          </a:p>
        </p:txBody>
      </p:sp>
      <p:sp>
        <p:nvSpPr>
          <p:cNvPr id="93" name="object 6klar"/>
          <p:cNvSpPr>
            <a:spLocks noGrp="1"/>
          </p:cNvSpPr>
          <p:nvPr>
            <p:ph type="body" idx="4294967295"/>
          </p:nvPr>
        </p:nvSpPr>
        <p:spPr>
          <a:xfrm>
            <a:off x="2106212" y="555526"/>
            <a:ext cx="5148262" cy="282257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endParaRPr lang="de-DE" dirty="0"/>
          </a:p>
        </p:txBody>
      </p:sp>
      <p:sp>
        <p:nvSpPr>
          <p:cNvPr id="96" name="Rechteck 95"/>
          <p:cNvSpPr/>
          <p:nvPr/>
        </p:nvSpPr>
        <p:spPr>
          <a:xfrm>
            <a:off x="1619672" y="1306470"/>
            <a:ext cx="606391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de-DE" sz="3200" dirty="0">
                <a:solidFill>
                  <a:srgbClr val="003063"/>
                </a:solidFill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Welche Schule ist die richtige</a:t>
            </a:r>
            <a:br>
              <a:rPr lang="de-DE" sz="3200" dirty="0">
                <a:solidFill>
                  <a:srgbClr val="003063"/>
                </a:solidFill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3200" dirty="0">
                <a:solidFill>
                  <a:srgbClr val="003063"/>
                </a:solidFill>
                <a:effectLst>
                  <a:outerShdw blurRad="38100" dist="38100" dir="2700000" algn="tl">
                    <a:prstClr val="white">
                      <a:alpha val="43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für mein Kind?</a:t>
            </a:r>
          </a:p>
        </p:txBody>
      </p:sp>
      <p:sp>
        <p:nvSpPr>
          <p:cNvPr id="99" name="Titel 3"/>
          <p:cNvSpPr txBox="1">
            <a:spLocks/>
          </p:cNvSpPr>
          <p:nvPr/>
        </p:nvSpPr>
        <p:spPr>
          <a:xfrm>
            <a:off x="-36512" y="123419"/>
            <a:ext cx="9793088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rgbClr val="AAC686"/>
                </a:solidFill>
              </a:rPr>
              <a:t>Schulabschlüsse und Anschlussmöglichkeiten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418144" y="165635"/>
            <a:ext cx="9266424" cy="3861083"/>
            <a:chOff x="35496" y="124536"/>
            <a:chExt cx="9266424" cy="3861083"/>
          </a:xfrm>
        </p:grpSpPr>
        <p:grpSp>
          <p:nvGrpSpPr>
            <p:cNvPr id="47" name="Gruppieren 46"/>
            <p:cNvGrpSpPr/>
            <p:nvPr/>
          </p:nvGrpSpPr>
          <p:grpSpPr>
            <a:xfrm>
              <a:off x="35496" y="124536"/>
              <a:ext cx="8424936" cy="3663069"/>
              <a:chOff x="-18462" y="124536"/>
              <a:chExt cx="8424936" cy="3663069"/>
            </a:xfrm>
          </p:grpSpPr>
          <p:graphicFrame>
            <p:nvGraphicFramePr>
              <p:cNvPr id="48" name="Diagramm 47"/>
              <p:cNvGraphicFramePr/>
              <p:nvPr>
                <p:extLst>
                  <p:ext uri="{D42A27DB-BD31-4B8C-83A1-F6EECF244321}">
                    <p14:modId xmlns:p14="http://schemas.microsoft.com/office/powerpoint/2010/main" val="2789327699"/>
                  </p:ext>
                </p:extLst>
              </p:nvPr>
            </p:nvGraphicFramePr>
            <p:xfrm>
              <a:off x="1634464" y="1691587"/>
              <a:ext cx="3305608" cy="285874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12" r:lo="rId13" r:qs="rId14" r:cs="rId15"/>
              </a:graphicData>
            </a:graphic>
          </p:graphicFrame>
          <p:sp>
            <p:nvSpPr>
              <p:cNvPr id="49" name="Pfeil nach oben 48"/>
              <p:cNvSpPr/>
              <p:nvPr/>
            </p:nvSpPr>
            <p:spPr>
              <a:xfrm>
                <a:off x="4406986" y="1259257"/>
                <a:ext cx="124078" cy="197038"/>
              </a:xfrm>
              <a:prstGeom prst="upArrow">
                <a:avLst>
                  <a:gd name="adj1" fmla="val 42323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graphicFrame>
            <p:nvGraphicFramePr>
              <p:cNvPr id="50" name="Diagramm 49"/>
              <p:cNvGraphicFramePr/>
              <p:nvPr>
                <p:extLst>
                  <p:ext uri="{D42A27DB-BD31-4B8C-83A1-F6EECF244321}">
                    <p14:modId xmlns:p14="http://schemas.microsoft.com/office/powerpoint/2010/main" val="1201314354"/>
                  </p:ext>
                </p:extLst>
              </p:nvPr>
            </p:nvGraphicFramePr>
            <p:xfrm>
              <a:off x="5208589" y="2357127"/>
              <a:ext cx="1482739" cy="735117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17" r:lo="rId18" r:qs="rId19" r:cs="rId20"/>
              </a:graphicData>
            </a:graphic>
          </p:graphicFrame>
          <p:graphicFrame>
            <p:nvGraphicFramePr>
              <p:cNvPr id="51" name="Diagramm 50"/>
              <p:cNvGraphicFramePr/>
              <p:nvPr>
                <p:extLst>
                  <p:ext uri="{D42A27DB-BD31-4B8C-83A1-F6EECF244321}">
                    <p14:modId xmlns:p14="http://schemas.microsoft.com/office/powerpoint/2010/main" val="3093354877"/>
                  </p:ext>
                </p:extLst>
              </p:nvPr>
            </p:nvGraphicFramePr>
            <p:xfrm>
              <a:off x="4563956" y="3014114"/>
              <a:ext cx="1304188" cy="451269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22" r:lo="rId23" r:qs="rId24" r:cs="rId25"/>
              </a:graphicData>
            </a:graphic>
          </p:graphicFrame>
          <p:grpSp>
            <p:nvGrpSpPr>
              <p:cNvPr id="52" name="Gruppieren 51"/>
              <p:cNvGrpSpPr/>
              <p:nvPr/>
            </p:nvGrpSpPr>
            <p:grpSpPr>
              <a:xfrm>
                <a:off x="3807170" y="1863015"/>
                <a:ext cx="1323711" cy="210600"/>
                <a:chOff x="10281" y="0"/>
                <a:chExt cx="1323711" cy="210600"/>
              </a:xfrm>
            </p:grpSpPr>
            <p:sp>
              <p:nvSpPr>
                <p:cNvPr id="143" name="Abgerundetes Rechteck 142"/>
                <p:cNvSpPr/>
                <p:nvPr/>
              </p:nvSpPr>
              <p:spPr>
                <a:xfrm>
                  <a:off x="173416" y="0"/>
                  <a:ext cx="1008747" cy="210600"/>
                </a:xfrm>
                <a:prstGeom prst="roundRect">
                  <a:avLst/>
                </a:prstGeom>
                <a:solidFill>
                  <a:srgbClr val="4085BF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144" name="Abgerundetes Rechteck 4"/>
                <p:cNvSpPr/>
                <p:nvPr/>
              </p:nvSpPr>
              <p:spPr>
                <a:xfrm>
                  <a:off x="10281" y="10281"/>
                  <a:ext cx="1323711" cy="190038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4290" tIns="34290" rIns="34290" bIns="34290" numCol="1" spcCol="1270" anchor="ctr" anchorCtr="0">
                  <a:noAutofit/>
                </a:bodyPr>
                <a:lstStyle/>
                <a:p>
                  <a:pPr lvl="0" algn="ctr" defTabSz="40005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de-DE" sz="900" dirty="0" smtClean="0"/>
                    <a:t>Berufsoberschule</a:t>
                  </a:r>
                  <a:endParaRPr lang="de-DE" sz="900" kern="1200" dirty="0"/>
                </a:p>
              </p:txBody>
            </p:sp>
          </p:grpSp>
          <p:grpSp>
            <p:nvGrpSpPr>
              <p:cNvPr id="53" name="Gruppieren 52"/>
              <p:cNvGrpSpPr/>
              <p:nvPr/>
            </p:nvGrpSpPr>
            <p:grpSpPr>
              <a:xfrm>
                <a:off x="5222182" y="1864297"/>
                <a:ext cx="1323711" cy="210600"/>
                <a:chOff x="10281" y="-22334"/>
                <a:chExt cx="1323711" cy="210600"/>
              </a:xfrm>
            </p:grpSpPr>
            <p:sp>
              <p:nvSpPr>
                <p:cNvPr id="141" name="Abgerundetes Rechteck 140"/>
                <p:cNvSpPr/>
                <p:nvPr/>
              </p:nvSpPr>
              <p:spPr>
                <a:xfrm>
                  <a:off x="230788" y="-22334"/>
                  <a:ext cx="875896" cy="210600"/>
                </a:xfrm>
                <a:prstGeom prst="roundRect">
                  <a:avLst/>
                </a:prstGeom>
                <a:solidFill>
                  <a:srgbClr val="4085BF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3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142" name="Abgerundetes Rechteck 4"/>
                <p:cNvSpPr/>
                <p:nvPr/>
              </p:nvSpPr>
              <p:spPr>
                <a:xfrm>
                  <a:off x="10281" y="-14433"/>
                  <a:ext cx="1323711" cy="190038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4290" tIns="34290" rIns="34290" bIns="34290" numCol="1" spcCol="1270" anchor="ctr" anchorCtr="0">
                  <a:noAutofit/>
                </a:bodyPr>
                <a:lstStyle/>
                <a:p>
                  <a:pPr lvl="0" algn="ctr" defTabSz="40005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de-DE" sz="900" kern="1200" dirty="0" smtClean="0"/>
                    <a:t>Fachoberschule</a:t>
                  </a:r>
                  <a:endParaRPr lang="de-DE" sz="900" kern="1200" dirty="0"/>
                </a:p>
              </p:txBody>
            </p:sp>
          </p:grpSp>
          <p:sp>
            <p:nvSpPr>
              <p:cNvPr id="54" name="Rechteckiger Pfeil 53"/>
              <p:cNvSpPr/>
              <p:nvPr/>
            </p:nvSpPr>
            <p:spPr>
              <a:xfrm rot="5400000" flipH="1">
                <a:off x="5150598" y="1697796"/>
                <a:ext cx="294812" cy="1080122"/>
              </a:xfrm>
              <a:prstGeom prst="bentArrow">
                <a:avLst>
                  <a:gd name="adj1" fmla="val 20708"/>
                  <a:gd name="adj2" fmla="val 22225"/>
                  <a:gd name="adj3" fmla="val 24592"/>
                  <a:gd name="adj4" fmla="val 38949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flatTx/>
              </a:bodyPr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Rechteckiger Pfeil 54"/>
              <p:cNvSpPr/>
              <p:nvPr/>
            </p:nvSpPr>
            <p:spPr>
              <a:xfrm rot="5400000" flipH="1" flipV="1">
                <a:off x="3560773" y="1764530"/>
                <a:ext cx="349021" cy="882754"/>
              </a:xfrm>
              <a:prstGeom prst="bentArrow">
                <a:avLst>
                  <a:gd name="adj1" fmla="val 13869"/>
                  <a:gd name="adj2" fmla="val 16880"/>
                  <a:gd name="adj3" fmla="val 19468"/>
                  <a:gd name="adj4" fmla="val 4375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graphicFrame>
            <p:nvGraphicFramePr>
              <p:cNvPr id="56" name="Diagramm 55"/>
              <p:cNvGraphicFramePr/>
              <p:nvPr>
                <p:extLst>
                  <p:ext uri="{D42A27DB-BD31-4B8C-83A1-F6EECF244321}">
                    <p14:modId xmlns:p14="http://schemas.microsoft.com/office/powerpoint/2010/main" val="3890583899"/>
                  </p:ext>
                </p:extLst>
              </p:nvPr>
            </p:nvGraphicFramePr>
            <p:xfrm>
              <a:off x="3606089" y="2563918"/>
              <a:ext cx="1565609" cy="246755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27" r:lo="rId28" r:qs="rId29" r:cs="rId30"/>
              </a:graphicData>
            </a:graphic>
          </p:graphicFrame>
          <p:sp>
            <p:nvSpPr>
              <p:cNvPr id="57" name="Rechteckiger Pfeil 56"/>
              <p:cNvSpPr>
                <a:spLocks noChangeAspect="1"/>
              </p:cNvSpPr>
              <p:nvPr/>
            </p:nvSpPr>
            <p:spPr>
              <a:xfrm rot="16200000" flipV="1">
                <a:off x="4304331" y="3248560"/>
                <a:ext cx="322225" cy="755866"/>
              </a:xfrm>
              <a:prstGeom prst="bentArrow">
                <a:avLst>
                  <a:gd name="adj1" fmla="val 16460"/>
                  <a:gd name="adj2" fmla="val 15359"/>
                  <a:gd name="adj3" fmla="val 21212"/>
                  <a:gd name="adj4" fmla="val 7878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58" name="Grafik 57"/>
              <p:cNvPicPr>
                <a:picLocks noChangeAspect="1"/>
              </p:cNvPicPr>
              <p:nvPr/>
            </p:nvPicPr>
            <p:blipFill>
              <a:blip r:embed="rId3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60032" y="403900"/>
                <a:ext cx="720000" cy="312479"/>
              </a:xfrm>
              <a:prstGeom prst="rect">
                <a:avLst/>
              </a:prstGeom>
            </p:spPr>
          </p:pic>
          <p:pic>
            <p:nvPicPr>
              <p:cNvPr id="59" name="Grafik 58"/>
              <p:cNvPicPr>
                <a:picLocks noChangeAspect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39197" y="124536"/>
                <a:ext cx="720000" cy="591843"/>
              </a:xfrm>
              <a:prstGeom prst="rect">
                <a:avLst/>
              </a:prstGeom>
            </p:spPr>
          </p:pic>
          <p:graphicFrame>
            <p:nvGraphicFramePr>
              <p:cNvPr id="60" name="Diagramm 59"/>
              <p:cNvGraphicFramePr/>
              <p:nvPr>
                <p:extLst>
                  <p:ext uri="{D42A27DB-BD31-4B8C-83A1-F6EECF244321}">
                    <p14:modId xmlns:p14="http://schemas.microsoft.com/office/powerpoint/2010/main" val="930943870"/>
                  </p:ext>
                </p:extLst>
              </p:nvPr>
            </p:nvGraphicFramePr>
            <p:xfrm>
              <a:off x="3088892" y="3020414"/>
              <a:ext cx="1346712" cy="450425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34" r:lo="rId35" r:qs="rId36" r:cs="rId37"/>
              </a:graphicData>
            </a:graphic>
          </p:graphicFrame>
          <p:graphicFrame>
            <p:nvGraphicFramePr>
              <p:cNvPr id="61" name="Diagramm 60"/>
              <p:cNvGraphicFramePr/>
              <p:nvPr>
                <p:extLst>
                  <p:ext uri="{D42A27DB-BD31-4B8C-83A1-F6EECF244321}">
                    <p14:modId xmlns:p14="http://schemas.microsoft.com/office/powerpoint/2010/main" val="4288277631"/>
                  </p:ext>
                </p:extLst>
              </p:nvPr>
            </p:nvGraphicFramePr>
            <p:xfrm>
              <a:off x="5127120" y="938478"/>
              <a:ext cx="1562140" cy="225218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39" r:lo="rId40" r:qs="rId41" r:cs="rId42"/>
              </a:graphicData>
            </a:graphic>
          </p:graphicFrame>
          <p:sp>
            <p:nvSpPr>
              <p:cNvPr id="63" name="Rechteckiger Pfeil 62"/>
              <p:cNvSpPr/>
              <p:nvPr/>
            </p:nvSpPr>
            <p:spPr>
              <a:xfrm>
                <a:off x="3437029" y="2607470"/>
                <a:ext cx="156405" cy="408700"/>
              </a:xfrm>
              <a:prstGeom prst="bentArrow">
                <a:avLst>
                  <a:gd name="adj1" fmla="val 38767"/>
                  <a:gd name="adj2" fmla="val 50000"/>
                  <a:gd name="adj3" fmla="val 44792"/>
                  <a:gd name="adj4" fmla="val 55208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Rechteckiger Pfeil 63"/>
              <p:cNvSpPr/>
              <p:nvPr/>
            </p:nvSpPr>
            <p:spPr>
              <a:xfrm flipH="1">
                <a:off x="5203029" y="2614614"/>
                <a:ext cx="161057" cy="410352"/>
              </a:xfrm>
              <a:prstGeom prst="bentArrow">
                <a:avLst>
                  <a:gd name="adj1" fmla="val 40272"/>
                  <a:gd name="adj2" fmla="val 49693"/>
                  <a:gd name="adj3" fmla="val 35874"/>
                  <a:gd name="adj4" fmla="val 38949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flatTx/>
              </a:bodyPr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Pfeil nach oben 64"/>
              <p:cNvSpPr/>
              <p:nvPr/>
            </p:nvSpPr>
            <p:spPr>
              <a:xfrm>
                <a:off x="4029610" y="2824677"/>
                <a:ext cx="104662" cy="191491"/>
              </a:xfrm>
              <a:prstGeom prst="upArrow">
                <a:avLst>
                  <a:gd name="adj1" fmla="val 46301"/>
                  <a:gd name="adj2" fmla="val 71439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66" name="Rechteckiger Pfeil 65"/>
              <p:cNvSpPr>
                <a:spLocks noChangeAspect="1"/>
              </p:cNvSpPr>
              <p:nvPr/>
            </p:nvSpPr>
            <p:spPr>
              <a:xfrm rot="16200000" flipV="1">
                <a:off x="5745885" y="3099872"/>
                <a:ext cx="276307" cy="235961"/>
              </a:xfrm>
              <a:prstGeom prst="bentArrow">
                <a:avLst>
                  <a:gd name="adj1" fmla="val 22339"/>
                  <a:gd name="adj2" fmla="val 26882"/>
                  <a:gd name="adj3" fmla="val 25000"/>
                  <a:gd name="adj4" fmla="val 4375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graphicFrame>
            <p:nvGraphicFramePr>
              <p:cNvPr id="67" name="Diagramm 66"/>
              <p:cNvGraphicFramePr/>
              <p:nvPr>
                <p:extLst>
                  <p:ext uri="{D42A27DB-BD31-4B8C-83A1-F6EECF244321}">
                    <p14:modId xmlns:p14="http://schemas.microsoft.com/office/powerpoint/2010/main" val="3921467997"/>
                  </p:ext>
                </p:extLst>
              </p:nvPr>
            </p:nvGraphicFramePr>
            <p:xfrm>
              <a:off x="2406221" y="872940"/>
              <a:ext cx="1517708" cy="35629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44" r:lo="rId45" r:qs="rId46" r:cs="rId47"/>
              </a:graphicData>
            </a:graphic>
          </p:graphicFrame>
          <p:sp>
            <p:nvSpPr>
              <p:cNvPr id="68" name="Rechteckiger Pfeil 67"/>
              <p:cNvSpPr/>
              <p:nvPr/>
            </p:nvSpPr>
            <p:spPr>
              <a:xfrm rot="16200000">
                <a:off x="4352678" y="3161228"/>
                <a:ext cx="322227" cy="930521"/>
              </a:xfrm>
              <a:prstGeom prst="bentArrow">
                <a:avLst>
                  <a:gd name="adj1" fmla="val 16771"/>
                  <a:gd name="adj2" fmla="val 17777"/>
                  <a:gd name="adj3" fmla="val 21688"/>
                  <a:gd name="adj4" fmla="val 67462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Pfeil nach oben 68"/>
              <p:cNvSpPr/>
              <p:nvPr/>
            </p:nvSpPr>
            <p:spPr>
              <a:xfrm>
                <a:off x="4738717" y="2824679"/>
                <a:ext cx="104662" cy="191490"/>
              </a:xfrm>
              <a:prstGeom prst="upArrow">
                <a:avLst>
                  <a:gd name="adj1" fmla="val 46301"/>
                  <a:gd name="adj2" fmla="val 71439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pic>
            <p:nvPicPr>
              <p:cNvPr id="70" name="Grafik 69"/>
              <p:cNvPicPr>
                <a:picLocks noChangeAspect="1"/>
              </p:cNvPicPr>
              <p:nvPr/>
            </p:nvPicPr>
            <p:blipFill>
              <a:blip r:embed="rId4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42201" y="2688033"/>
                <a:ext cx="720000" cy="417310"/>
              </a:xfrm>
              <a:prstGeom prst="rect">
                <a:avLst/>
              </a:prstGeom>
            </p:spPr>
          </p:pic>
          <p:pic>
            <p:nvPicPr>
              <p:cNvPr id="71" name="Grafik 70"/>
              <p:cNvPicPr>
                <a:picLocks noChangeAspect="1"/>
              </p:cNvPicPr>
              <p:nvPr/>
            </p:nvPicPr>
            <p:blipFill>
              <a:blip r:embed="rId4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70113" y="2824679"/>
                <a:ext cx="720000" cy="417310"/>
              </a:xfrm>
              <a:prstGeom prst="rect">
                <a:avLst/>
              </a:prstGeom>
            </p:spPr>
          </p:pic>
          <p:sp>
            <p:nvSpPr>
              <p:cNvPr id="72" name="Rechteckiger Pfeil 71"/>
              <p:cNvSpPr>
                <a:spLocks noChangeAspect="1"/>
              </p:cNvSpPr>
              <p:nvPr/>
            </p:nvSpPr>
            <p:spPr>
              <a:xfrm rot="16200000" flipV="1">
                <a:off x="5869230" y="2992410"/>
                <a:ext cx="457484" cy="1064361"/>
              </a:xfrm>
              <a:prstGeom prst="bentArrow">
                <a:avLst>
                  <a:gd name="adj1" fmla="val 11036"/>
                  <a:gd name="adj2" fmla="val 12629"/>
                  <a:gd name="adj3" fmla="val 20237"/>
                  <a:gd name="adj4" fmla="val 79763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Rechteckiger Pfeil 72"/>
              <p:cNvSpPr/>
              <p:nvPr/>
            </p:nvSpPr>
            <p:spPr>
              <a:xfrm flipH="1">
                <a:off x="6630113" y="1017112"/>
                <a:ext cx="318150" cy="1659500"/>
              </a:xfrm>
              <a:prstGeom prst="bentArrow">
                <a:avLst>
                  <a:gd name="adj1" fmla="val 17754"/>
                  <a:gd name="adj2" fmla="val 22924"/>
                  <a:gd name="adj3" fmla="val 20993"/>
                  <a:gd name="adj4" fmla="val 79007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flatTx/>
              </a:bodyPr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graphicFrame>
            <p:nvGraphicFramePr>
              <p:cNvPr id="76" name="Diagramm 75"/>
              <p:cNvGraphicFramePr/>
              <p:nvPr>
                <p:extLst>
                  <p:ext uri="{D42A27DB-BD31-4B8C-83A1-F6EECF244321}">
                    <p14:modId xmlns:p14="http://schemas.microsoft.com/office/powerpoint/2010/main" val="608334591"/>
                  </p:ext>
                </p:extLst>
              </p:nvPr>
            </p:nvGraphicFramePr>
            <p:xfrm>
              <a:off x="7062201" y="2725945"/>
              <a:ext cx="1344273" cy="45140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50" r:lo="rId51" r:qs="rId52" r:cs="rId53"/>
              </a:graphicData>
            </a:graphic>
          </p:graphicFrame>
          <p:pic>
            <p:nvPicPr>
              <p:cNvPr id="77" name="Grafik 76"/>
              <p:cNvPicPr>
                <a:picLocks noChangeAspect="1"/>
              </p:cNvPicPr>
              <p:nvPr/>
            </p:nvPicPr>
            <p:blipFill>
              <a:blip r:embed="rId4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02392" y="1346525"/>
                <a:ext cx="720000" cy="417310"/>
              </a:xfrm>
              <a:prstGeom prst="rect">
                <a:avLst/>
              </a:prstGeom>
            </p:spPr>
          </p:pic>
          <p:pic>
            <p:nvPicPr>
              <p:cNvPr id="78" name="Grafik 77"/>
              <p:cNvPicPr>
                <a:picLocks noChangeAspect="1"/>
              </p:cNvPicPr>
              <p:nvPr/>
            </p:nvPicPr>
            <p:blipFill>
              <a:blip r:embed="rId4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60610" y="1463288"/>
                <a:ext cx="720000" cy="417310"/>
              </a:xfrm>
              <a:prstGeom prst="rect">
                <a:avLst/>
              </a:prstGeom>
            </p:spPr>
          </p:pic>
          <p:graphicFrame>
            <p:nvGraphicFramePr>
              <p:cNvPr id="79" name="Diagramm 78"/>
              <p:cNvGraphicFramePr/>
              <p:nvPr>
                <p:extLst>
                  <p:ext uri="{D42A27DB-BD31-4B8C-83A1-F6EECF244321}">
                    <p14:modId xmlns:p14="http://schemas.microsoft.com/office/powerpoint/2010/main" val="2896078782"/>
                  </p:ext>
                </p:extLst>
              </p:nvPr>
            </p:nvGraphicFramePr>
            <p:xfrm>
              <a:off x="1614579" y="1338715"/>
              <a:ext cx="1344273" cy="692683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55" r:lo="rId56" r:qs="rId57" r:cs="rId58"/>
              </a:graphicData>
            </a:graphic>
          </p:graphicFrame>
          <p:sp>
            <p:nvSpPr>
              <p:cNvPr id="80" name="Abgerundetes Rechteck 4"/>
              <p:cNvSpPr/>
              <p:nvPr/>
            </p:nvSpPr>
            <p:spPr>
              <a:xfrm>
                <a:off x="5637517" y="489909"/>
                <a:ext cx="1323711" cy="190038"/>
              </a:xfrm>
              <a:prstGeom prst="rect">
                <a:avLst/>
              </a:prstGeom>
              <a:solidFill>
                <a:srgbClr val="C00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4290" tIns="34290" rIns="34290" bIns="34290" numCol="1" spcCol="1270" anchor="ctr" anchorCtr="0">
                <a:noAutofit/>
              </a:bodyPr>
              <a:lstStyle/>
              <a:p>
                <a:pPr lvl="0" algn="ctr" defTabSz="40005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1000" dirty="0" smtClean="0"/>
                  <a:t>Fachhochschule</a:t>
                </a:r>
                <a:endParaRPr lang="de-DE" sz="900" kern="1200" dirty="0"/>
              </a:p>
            </p:txBody>
          </p:sp>
          <p:graphicFrame>
            <p:nvGraphicFramePr>
              <p:cNvPr id="81" name="Diagramm 80"/>
              <p:cNvGraphicFramePr/>
              <p:nvPr>
                <p:extLst>
                  <p:ext uri="{D42A27DB-BD31-4B8C-83A1-F6EECF244321}">
                    <p14:modId xmlns:p14="http://schemas.microsoft.com/office/powerpoint/2010/main" val="1969882950"/>
                  </p:ext>
                </p:extLst>
              </p:nvPr>
            </p:nvGraphicFramePr>
            <p:xfrm>
              <a:off x="4101877" y="2248912"/>
              <a:ext cx="570890" cy="208359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60" r:lo="rId61" r:qs="rId62" r:cs="rId63"/>
              </a:graphicData>
            </a:graphic>
          </p:graphicFrame>
          <p:sp>
            <p:nvSpPr>
              <p:cNvPr id="82" name="Rechteckiger Pfeil 81"/>
              <p:cNvSpPr/>
              <p:nvPr/>
            </p:nvSpPr>
            <p:spPr>
              <a:xfrm>
                <a:off x="4059031" y="2283719"/>
                <a:ext cx="134783" cy="252769"/>
              </a:xfrm>
              <a:prstGeom prst="bentArrow">
                <a:avLst>
                  <a:gd name="adj1" fmla="val 42193"/>
                  <a:gd name="adj2" fmla="val 50000"/>
                  <a:gd name="adj3" fmla="val 41168"/>
                  <a:gd name="adj4" fmla="val 31204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Abgerundetes Rechteck 4"/>
              <p:cNvSpPr/>
              <p:nvPr/>
            </p:nvSpPr>
            <p:spPr>
              <a:xfrm>
                <a:off x="1929138" y="486000"/>
                <a:ext cx="1447200" cy="190038"/>
              </a:xfrm>
              <a:prstGeom prst="rect">
                <a:avLst/>
              </a:prstGeom>
              <a:solidFill>
                <a:srgbClr val="C00000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4290" tIns="34290" rIns="34290" bIns="34290" numCol="1" spcCol="1270" anchor="ctr" anchorCtr="0">
                <a:noAutofit/>
              </a:bodyPr>
              <a:lstStyle/>
              <a:p>
                <a:pPr lvl="0" algn="ctr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1000" dirty="0" smtClean="0"/>
                  <a:t>Universität / Hochschule</a:t>
                </a:r>
                <a:endParaRPr lang="de-DE" sz="1000" kern="1200" dirty="0"/>
              </a:p>
            </p:txBody>
          </p:sp>
          <p:pic>
            <p:nvPicPr>
              <p:cNvPr id="84" name="Grafik 83"/>
              <p:cNvPicPr>
                <a:picLocks noChangeAspect="1"/>
              </p:cNvPicPr>
              <p:nvPr/>
            </p:nvPicPr>
            <p:blipFill>
              <a:blip r:embed="rId4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99352" y="1446938"/>
                <a:ext cx="720000" cy="417310"/>
              </a:xfrm>
              <a:prstGeom prst="rect">
                <a:avLst/>
              </a:prstGeom>
            </p:spPr>
          </p:pic>
          <p:pic>
            <p:nvPicPr>
              <p:cNvPr id="89" name="Grafik 88"/>
              <p:cNvPicPr>
                <a:picLocks noChangeAspect="1"/>
              </p:cNvPicPr>
              <p:nvPr/>
            </p:nvPicPr>
            <p:blipFill>
              <a:blip r:embed="rId4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24037" y="1445839"/>
                <a:ext cx="720000" cy="417310"/>
              </a:xfrm>
              <a:prstGeom prst="rect">
                <a:avLst/>
              </a:prstGeom>
            </p:spPr>
          </p:pic>
          <p:sp>
            <p:nvSpPr>
              <p:cNvPr id="90" name="Pfeil nach oben 89"/>
              <p:cNvSpPr/>
              <p:nvPr/>
            </p:nvSpPr>
            <p:spPr>
              <a:xfrm>
                <a:off x="4397905" y="2068095"/>
                <a:ext cx="113060" cy="161193"/>
              </a:xfrm>
              <a:prstGeom prst="upArrow">
                <a:avLst>
                  <a:gd name="adj1" fmla="val 46161"/>
                  <a:gd name="adj2" fmla="val 65776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91" name="Pfeil nach oben 90"/>
              <p:cNvSpPr/>
              <p:nvPr/>
            </p:nvSpPr>
            <p:spPr>
              <a:xfrm rot="16200000">
                <a:off x="5109660" y="1368112"/>
                <a:ext cx="124078" cy="704688"/>
              </a:xfrm>
              <a:prstGeom prst="upArrow">
                <a:avLst>
                  <a:gd name="adj1" fmla="val 42323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94" name="Rechteckiger Pfeil 93"/>
              <p:cNvSpPr/>
              <p:nvPr/>
            </p:nvSpPr>
            <p:spPr>
              <a:xfrm rot="16200000">
                <a:off x="3291577" y="3542989"/>
                <a:ext cx="333727" cy="133651"/>
              </a:xfrm>
              <a:prstGeom prst="bentArrow">
                <a:avLst>
                  <a:gd name="adj1" fmla="val 40420"/>
                  <a:gd name="adj2" fmla="val 39428"/>
                  <a:gd name="adj3" fmla="val 48681"/>
                  <a:gd name="adj4" fmla="val 94572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Rechteckiger Pfeil 94"/>
              <p:cNvSpPr/>
              <p:nvPr/>
            </p:nvSpPr>
            <p:spPr>
              <a:xfrm>
                <a:off x="5929928" y="2090451"/>
                <a:ext cx="1018335" cy="268153"/>
              </a:xfrm>
              <a:prstGeom prst="bentArrow">
                <a:avLst>
                  <a:gd name="adj1" fmla="val 21429"/>
                  <a:gd name="adj2" fmla="val 12595"/>
                  <a:gd name="adj3" fmla="val 19089"/>
                  <a:gd name="adj4" fmla="val 9812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flatTx/>
              </a:bodyPr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Pfeil nach oben 96"/>
              <p:cNvSpPr/>
              <p:nvPr/>
            </p:nvSpPr>
            <p:spPr>
              <a:xfrm>
                <a:off x="5821999" y="1183853"/>
                <a:ext cx="124078" cy="269607"/>
              </a:xfrm>
              <a:prstGeom prst="upArrow">
                <a:avLst>
                  <a:gd name="adj1" fmla="val 42323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98" name="Rechteckiger Pfeil 97"/>
              <p:cNvSpPr/>
              <p:nvPr/>
            </p:nvSpPr>
            <p:spPr>
              <a:xfrm flipH="1">
                <a:off x="4692346" y="2278856"/>
                <a:ext cx="151032" cy="257175"/>
              </a:xfrm>
              <a:prstGeom prst="bentArrow">
                <a:avLst>
                  <a:gd name="adj1" fmla="val 42606"/>
                  <a:gd name="adj2" fmla="val 50000"/>
                  <a:gd name="adj3" fmla="val 33327"/>
                  <a:gd name="adj4" fmla="val 35934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Pfeil nach oben 99"/>
              <p:cNvSpPr/>
              <p:nvPr/>
            </p:nvSpPr>
            <p:spPr>
              <a:xfrm>
                <a:off x="5226319" y="3453880"/>
                <a:ext cx="124078" cy="178211"/>
              </a:xfrm>
              <a:prstGeom prst="upArrow">
                <a:avLst>
                  <a:gd name="adj1" fmla="val 42323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graphicFrame>
            <p:nvGraphicFramePr>
              <p:cNvPr id="109" name="Diagramm 108"/>
              <p:cNvGraphicFramePr/>
              <p:nvPr>
                <p:extLst>
                  <p:ext uri="{D42A27DB-BD31-4B8C-83A1-F6EECF244321}">
                    <p14:modId xmlns:p14="http://schemas.microsoft.com/office/powerpoint/2010/main" val="642748705"/>
                  </p:ext>
                </p:extLst>
              </p:nvPr>
            </p:nvGraphicFramePr>
            <p:xfrm>
              <a:off x="-18462" y="3441231"/>
              <a:ext cx="546692" cy="22493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65" r:lo="rId66" r:qs="rId67" r:cs="rId68"/>
              </a:graphicData>
            </a:graphic>
          </p:graphicFrame>
          <p:graphicFrame>
            <p:nvGraphicFramePr>
              <p:cNvPr id="113" name="Diagramm 112"/>
              <p:cNvGraphicFramePr/>
              <p:nvPr>
                <p:extLst>
                  <p:ext uri="{D42A27DB-BD31-4B8C-83A1-F6EECF244321}">
                    <p14:modId xmlns:p14="http://schemas.microsoft.com/office/powerpoint/2010/main" val="2565878241"/>
                  </p:ext>
                </p:extLst>
              </p:nvPr>
            </p:nvGraphicFramePr>
            <p:xfrm>
              <a:off x="-18462" y="3133058"/>
              <a:ext cx="542894" cy="226800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70" r:lo="rId71" r:qs="rId72" r:cs="rId73"/>
              </a:graphicData>
            </a:graphic>
          </p:graphicFrame>
          <p:graphicFrame>
            <p:nvGraphicFramePr>
              <p:cNvPr id="116" name="Diagramm 115"/>
              <p:cNvGraphicFramePr/>
              <p:nvPr>
                <p:extLst>
                  <p:ext uri="{D42A27DB-BD31-4B8C-83A1-F6EECF244321}">
                    <p14:modId xmlns:p14="http://schemas.microsoft.com/office/powerpoint/2010/main" val="2881723216"/>
                  </p:ext>
                </p:extLst>
              </p:nvPr>
            </p:nvGraphicFramePr>
            <p:xfrm>
              <a:off x="581676" y="3112590"/>
              <a:ext cx="2511539" cy="582711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75" r:lo="rId76" r:qs="rId77" r:cs="rId78"/>
              </a:graphicData>
            </a:graphic>
          </p:graphicFrame>
          <p:sp>
            <p:nvSpPr>
              <p:cNvPr id="117" name="Pfeil nach oben 116"/>
              <p:cNvSpPr/>
              <p:nvPr/>
            </p:nvSpPr>
            <p:spPr>
              <a:xfrm>
                <a:off x="3970306" y="725076"/>
                <a:ext cx="124078" cy="132982"/>
              </a:xfrm>
              <a:prstGeom prst="upArrow">
                <a:avLst>
                  <a:gd name="adj1" fmla="val 42323"/>
                  <a:gd name="adj2" fmla="val 50000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119" name="Kreis 118"/>
              <p:cNvSpPr/>
              <p:nvPr/>
            </p:nvSpPr>
            <p:spPr>
              <a:xfrm>
                <a:off x="3800505" y="872939"/>
                <a:ext cx="356296" cy="356296"/>
              </a:xfrm>
              <a:prstGeom prst="pie">
                <a:avLst>
                  <a:gd name="adj1" fmla="val 5400000"/>
                  <a:gd name="adj2" fmla="val 16200000"/>
                </a:avLst>
              </a:prstGeom>
              <a:noFill/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1" name="Freihandform 120"/>
              <p:cNvSpPr/>
              <p:nvPr/>
            </p:nvSpPr>
            <p:spPr>
              <a:xfrm>
                <a:off x="3871638" y="872939"/>
                <a:ext cx="1233880" cy="356296"/>
              </a:xfrm>
              <a:custGeom>
                <a:avLst/>
                <a:gdLst>
                  <a:gd name="connsiteX0" fmla="*/ 0 w 1233880"/>
                  <a:gd name="connsiteY0" fmla="*/ 0 h 356296"/>
                  <a:gd name="connsiteX1" fmla="*/ 1233880 w 1233880"/>
                  <a:gd name="connsiteY1" fmla="*/ 0 h 356296"/>
                  <a:gd name="connsiteX2" fmla="*/ 1233880 w 1233880"/>
                  <a:gd name="connsiteY2" fmla="*/ 356296 h 356296"/>
                  <a:gd name="connsiteX3" fmla="*/ 0 w 1233880"/>
                  <a:gd name="connsiteY3" fmla="*/ 356296 h 356296"/>
                  <a:gd name="connsiteX4" fmla="*/ 0 w 1233880"/>
                  <a:gd name="connsiteY4" fmla="*/ 0 h 35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3880" h="356296">
                    <a:moveTo>
                      <a:pt x="0" y="0"/>
                    </a:moveTo>
                    <a:lnTo>
                      <a:pt x="1233880" y="0"/>
                    </a:lnTo>
                    <a:lnTo>
                      <a:pt x="1233880" y="356296"/>
                    </a:lnTo>
                    <a:lnTo>
                      <a:pt x="0" y="35629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solidFill>
                  <a:srgbClr val="FF0000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1910" tIns="41910" rIns="41910" bIns="41910" numCol="1" spcCol="1270" anchor="ctr" anchorCtr="0">
                <a:noAutofit/>
              </a:bodyPr>
              <a:lstStyle/>
              <a:p>
                <a:pPr lvl="0" algn="ctr" defTabSz="48895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1100" b="1" kern="1200" dirty="0" smtClean="0"/>
                  <a:t>fachgebundene Hochschulreife</a:t>
                </a:r>
                <a:endParaRPr lang="de-DE" sz="900" b="1" kern="1200" dirty="0"/>
              </a:p>
            </p:txBody>
          </p:sp>
          <p:sp>
            <p:nvSpPr>
              <p:cNvPr id="122" name="Pfeil nach oben 121"/>
              <p:cNvSpPr/>
              <p:nvPr/>
            </p:nvSpPr>
            <p:spPr>
              <a:xfrm>
                <a:off x="3323621" y="1259256"/>
                <a:ext cx="124078" cy="92259"/>
              </a:xfrm>
              <a:prstGeom prst="upArrow">
                <a:avLst>
                  <a:gd name="adj1" fmla="val 42323"/>
                  <a:gd name="adj2" fmla="val 50000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123" name="Pfeil nach oben 122"/>
              <p:cNvSpPr/>
              <p:nvPr/>
            </p:nvSpPr>
            <p:spPr>
              <a:xfrm>
                <a:off x="5365558" y="727457"/>
                <a:ext cx="124078" cy="188476"/>
              </a:xfrm>
              <a:prstGeom prst="upArrow">
                <a:avLst>
                  <a:gd name="adj1" fmla="val 42323"/>
                  <a:gd name="adj2" fmla="val 50000"/>
                </a:avLst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127" name="Pfeil nach oben 126"/>
              <p:cNvSpPr/>
              <p:nvPr/>
            </p:nvSpPr>
            <p:spPr>
              <a:xfrm>
                <a:off x="3531395" y="720314"/>
                <a:ext cx="124078" cy="132103"/>
              </a:xfrm>
              <a:prstGeom prst="upArrow">
                <a:avLst>
                  <a:gd name="adj1" fmla="val 42323"/>
                  <a:gd name="adj2" fmla="val 50000"/>
                </a:avLst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  <p:sp>
            <p:nvSpPr>
              <p:cNvPr id="137" name="Rechteckiger Pfeil 136"/>
              <p:cNvSpPr/>
              <p:nvPr/>
            </p:nvSpPr>
            <p:spPr>
              <a:xfrm rot="5400000" flipH="1" flipV="1">
                <a:off x="3971559" y="967623"/>
                <a:ext cx="182844" cy="766110"/>
              </a:xfrm>
              <a:prstGeom prst="bentArrow">
                <a:avLst>
                  <a:gd name="adj1" fmla="val 24164"/>
                  <a:gd name="adj2" fmla="val 27175"/>
                  <a:gd name="adj3" fmla="val 25000"/>
                  <a:gd name="adj4" fmla="val 55761"/>
                </a:avLst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Pfeil nach oben 138"/>
              <p:cNvSpPr/>
              <p:nvPr/>
            </p:nvSpPr>
            <p:spPr>
              <a:xfrm>
                <a:off x="4882289" y="725076"/>
                <a:ext cx="124078" cy="132982"/>
              </a:xfrm>
              <a:prstGeom prst="upArrow">
                <a:avLst>
                  <a:gd name="adj1" fmla="val 42323"/>
                  <a:gd name="adj2" fmla="val 50000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 smtClean="0"/>
              </a:p>
            </p:txBody>
          </p:sp>
        </p:grpSp>
        <p:grpSp>
          <p:nvGrpSpPr>
            <p:cNvPr id="145" name="Gruppieren 144"/>
            <p:cNvGrpSpPr/>
            <p:nvPr/>
          </p:nvGrpSpPr>
          <p:grpSpPr>
            <a:xfrm>
              <a:off x="3609727" y="3655505"/>
              <a:ext cx="500881" cy="224936"/>
              <a:chOff x="62474" y="0"/>
              <a:chExt cx="500881" cy="224936"/>
            </a:xfrm>
          </p:grpSpPr>
          <p:sp>
            <p:nvSpPr>
              <p:cNvPr id="146" name="Rechteck 145"/>
              <p:cNvSpPr/>
              <p:nvPr/>
            </p:nvSpPr>
            <p:spPr>
              <a:xfrm>
                <a:off x="62474" y="0"/>
                <a:ext cx="500881" cy="224936"/>
              </a:xfrm>
              <a:prstGeom prst="rect">
                <a:avLst/>
              </a:prstGeom>
              <a:solidFill>
                <a:schemeClr val="bg1">
                  <a:lumMod val="95000"/>
                  <a:alpha val="90000"/>
                </a:schemeClr>
              </a:solidFill>
            </p:spPr>
            <p:style>
              <a:lnRef idx="2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47" name="Rechteck 146"/>
              <p:cNvSpPr/>
              <p:nvPr/>
            </p:nvSpPr>
            <p:spPr>
              <a:xfrm>
                <a:off x="62474" y="0"/>
                <a:ext cx="500881" cy="22493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1910" tIns="41910" rIns="41910" bIns="41910" numCol="1" spcCol="1270" anchor="ctr" anchorCtr="0">
                <a:noAutofit/>
              </a:bodyPr>
              <a:lstStyle/>
              <a:p>
                <a:pPr lvl="0" algn="ctr" defTabSz="48895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1100" b="1" kern="1200" dirty="0" smtClean="0"/>
                  <a:t>e/ESA</a:t>
                </a:r>
                <a:endParaRPr lang="de-DE" sz="1200" kern="1200" dirty="0"/>
              </a:p>
            </p:txBody>
          </p:sp>
        </p:grpSp>
        <p:grpSp>
          <p:nvGrpSpPr>
            <p:cNvPr id="148" name="Gruppieren 147"/>
            <p:cNvGrpSpPr/>
            <p:nvPr/>
          </p:nvGrpSpPr>
          <p:grpSpPr>
            <a:xfrm>
              <a:off x="5063870" y="3655505"/>
              <a:ext cx="525600" cy="226800"/>
              <a:chOff x="113400" y="0"/>
              <a:chExt cx="525600" cy="226800"/>
            </a:xfrm>
          </p:grpSpPr>
          <p:sp>
            <p:nvSpPr>
              <p:cNvPr id="149" name="Rechteck 148"/>
              <p:cNvSpPr/>
              <p:nvPr/>
            </p:nvSpPr>
            <p:spPr>
              <a:xfrm>
                <a:off x="113400" y="0"/>
                <a:ext cx="525600" cy="226800"/>
              </a:xfrm>
              <a:prstGeom prst="rect">
                <a:avLst/>
              </a:prstGeom>
              <a:solidFill>
                <a:schemeClr val="bg1">
                  <a:lumMod val="95000"/>
                  <a:alpha val="90000"/>
                </a:schemeClr>
              </a:solidFill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50" name="Rechteck 149"/>
              <p:cNvSpPr/>
              <p:nvPr/>
            </p:nvSpPr>
            <p:spPr>
              <a:xfrm>
                <a:off x="113400" y="0"/>
                <a:ext cx="500400" cy="22680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1910" tIns="41910" rIns="41910" bIns="41910" numCol="1" spcCol="1270" anchor="ctr" anchorCtr="0">
                <a:noAutofit/>
              </a:bodyPr>
              <a:lstStyle/>
              <a:p>
                <a:pPr lvl="0" algn="ctr" defTabSz="48895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1100" b="1" kern="1200" dirty="0" smtClean="0"/>
                  <a:t>MSA</a:t>
                </a:r>
                <a:endParaRPr lang="de-DE" sz="1300" kern="1200" dirty="0"/>
              </a:p>
            </p:txBody>
          </p:sp>
        </p:grpSp>
        <p:pic>
          <p:nvPicPr>
            <p:cNvPr id="151" name="Grafik 150"/>
            <p:cNvPicPr>
              <a:picLocks noChangeAspect="1"/>
            </p:cNvPicPr>
            <p:nvPr/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51433" y="1599326"/>
              <a:ext cx="720000" cy="417310"/>
            </a:xfrm>
            <a:prstGeom prst="rect">
              <a:avLst/>
            </a:prstGeom>
          </p:spPr>
        </p:pic>
        <p:sp>
          <p:nvSpPr>
            <p:cNvPr id="152" name="Textfeld 151"/>
            <p:cNvSpPr txBox="1"/>
            <p:nvPr/>
          </p:nvSpPr>
          <p:spPr>
            <a:xfrm>
              <a:off x="8221800" y="3754787"/>
              <a:ext cx="108012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900" dirty="0" smtClean="0">
                  <a:solidFill>
                    <a:srgbClr val="FFC000"/>
                  </a:solidFill>
                </a:rPr>
                <a:t>*Abitu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9811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75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accel="75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3" presetClass="emph" presetSubtype="2" fill="hold" grpId="1" nodeType="withEffect">
                                  <p:stCondLst>
                                    <p:cond delay="9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4" dur="1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5" presetID="2" presetClass="exit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" dur="1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" presetClass="exit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0" dur="1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4" dur="200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200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8" dur="4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4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3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2" presetClass="entr" presetSubtype="1" accel="75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700" fill="hold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700" fill="hold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1" accel="75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7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7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3" presetClass="emph" presetSubtype="2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0" dur="100" fill="hold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41" presetID="2" presetClass="exit" presetSubtype="4" decel="15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2" dur="200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200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" presetClass="exit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6" dur="200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200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" presetClass="exit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0" dur="500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0-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1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5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9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xit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9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6" presetClass="emp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4" dur="2000" fill="hold"/>
                                        <p:tgtEl>
                                          <p:spTgt spid="96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 animBg="1"/>
      <p:bldP spid="88" grpId="0"/>
      <p:bldP spid="86" grpId="0" build="p"/>
      <p:bldP spid="86" grpId="1" build="p"/>
      <p:bldP spid="85" grpId="0" animBg="1"/>
      <p:bldP spid="11" grpId="0" animBg="1"/>
      <p:bldP spid="74" grpId="0" animBg="1"/>
      <p:bldP spid="75" grpId="0" build="p"/>
      <p:bldP spid="75" grpId="1" build="p"/>
      <p:bldP spid="17" grpId="0"/>
      <p:bldP spid="186" grpId="0" animBg="1"/>
      <p:bldP spid="92" grpId="0" build="p" animBg="1"/>
      <p:bldP spid="93" grpId="0" build="p" animBg="1"/>
      <p:bldP spid="93" grpId="1" uiExpand="1" build="p" animBg="1"/>
      <p:bldP spid="96" grpId="0"/>
      <p:bldP spid="96" grpId="1"/>
      <p:bldP spid="9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object 6"/>
          <p:cNvSpPr>
            <a:spLocks noGrp="1"/>
          </p:cNvSpPr>
          <p:nvPr>
            <p:ph type="body" idx="4294967295"/>
          </p:nvPr>
        </p:nvSpPr>
        <p:spPr>
          <a:xfrm>
            <a:off x="2109420" y="576542"/>
            <a:ext cx="5148262" cy="2822575"/>
          </a:xfrm>
          <a:prstGeom prst="rect">
            <a:avLst/>
          </a:prstGeom>
          <a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 radius="12"/>
                      </a14:imgEffect>
                      <a14:imgEffect>
                        <a14:sharpenSoften amount="-75000"/>
                      </a14:imgEffect>
                      <a14:imgEffect>
                        <a14:colorTemperature colorTemp="11500"/>
                      </a14:imgEffect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2427734"/>
            <a:ext cx="2058650" cy="1679220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942" y="2439716"/>
            <a:ext cx="1360801" cy="256374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5820" y="2524160"/>
            <a:ext cx="966601" cy="1738998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167348" y="2495590"/>
            <a:ext cx="972000" cy="15163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Grafik 3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2390668"/>
            <a:ext cx="1296001" cy="29548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4339" y="2564735"/>
            <a:ext cx="1063800" cy="1761011"/>
          </a:xfrm>
          <a:prstGeom prst="rect">
            <a:avLst/>
          </a:prstGeom>
        </p:spPr>
      </p:pic>
      <p:pic>
        <p:nvPicPr>
          <p:cNvPr id="44" name="Grafik 4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056" y="3053518"/>
            <a:ext cx="972000" cy="19167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8192" y="2440564"/>
            <a:ext cx="1101600" cy="18837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3" name="Grafik 4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4458" y="2591136"/>
            <a:ext cx="972000" cy="18215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99" y="1591933"/>
            <a:ext cx="1268772" cy="3560244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20519" y="2489022"/>
            <a:ext cx="1231201" cy="201424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6" name="Grafik 4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49" y="2390668"/>
            <a:ext cx="1296001" cy="38672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" name="Grafik 46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447" y="2744571"/>
            <a:ext cx="1004400" cy="184207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Grafik 18" hidden="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175" y="-1641600"/>
            <a:ext cx="2321074" cy="5143500"/>
          </a:xfrm>
          <a:prstGeom prst="rect">
            <a:avLst/>
          </a:prstGeom>
        </p:spPr>
      </p:pic>
      <p:sp>
        <p:nvSpPr>
          <p:cNvPr id="22" name="Rechteck 21"/>
          <p:cNvSpPr/>
          <p:nvPr/>
        </p:nvSpPr>
        <p:spPr>
          <a:xfrm>
            <a:off x="-36512" y="3998695"/>
            <a:ext cx="9141447" cy="1144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smtClean="0"/>
          </a:p>
        </p:txBody>
      </p:sp>
      <p:pic>
        <p:nvPicPr>
          <p:cNvPr id="2051" name="Picture 3"/>
          <p:cNvPicPr>
            <a:picLocks noChangeArrowheads="1"/>
          </p:cNvPicPr>
          <p:nvPr/>
        </p:nvPicPr>
        <p:blipFill rotWithShape="1"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sharpenSoften amoun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9820" r="7946" b="766"/>
          <a:stretch/>
        </p:blipFill>
        <p:spPr bwMode="auto">
          <a:xfrm>
            <a:off x="6766948" y="3998695"/>
            <a:ext cx="2372400" cy="1144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" name="Titel 3"/>
          <p:cNvSpPr txBox="1">
            <a:spLocks/>
          </p:cNvSpPr>
          <p:nvPr/>
        </p:nvSpPr>
        <p:spPr>
          <a:xfrm>
            <a:off x="0" y="112061"/>
            <a:ext cx="9577064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>
                <a:solidFill>
                  <a:srgbClr val="AAC686"/>
                </a:solidFill>
              </a:rPr>
              <a:t>Tipps und Ratschläge</a:t>
            </a:r>
            <a:endParaRPr lang="de-DE" dirty="0">
              <a:solidFill>
                <a:srgbClr val="AAC686"/>
              </a:solidFill>
            </a:endParaRPr>
          </a:p>
        </p:txBody>
      </p:sp>
      <p:graphicFrame>
        <p:nvGraphicFramePr>
          <p:cNvPr id="37" name="Diagramm 36"/>
          <p:cNvGraphicFramePr/>
          <p:nvPr>
            <p:extLst>
              <p:ext uri="{D42A27DB-BD31-4B8C-83A1-F6EECF244321}">
                <p14:modId xmlns:p14="http://schemas.microsoft.com/office/powerpoint/2010/main" val="1968806671"/>
              </p:ext>
            </p:extLst>
          </p:nvPr>
        </p:nvGraphicFramePr>
        <p:xfrm>
          <a:off x="1182263" y="613886"/>
          <a:ext cx="2891042" cy="4482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  <p:graphicFrame>
        <p:nvGraphicFramePr>
          <p:cNvPr id="38" name="Diagramm 37"/>
          <p:cNvGraphicFramePr/>
          <p:nvPr>
            <p:extLst>
              <p:ext uri="{D42A27DB-BD31-4B8C-83A1-F6EECF244321}">
                <p14:modId xmlns:p14="http://schemas.microsoft.com/office/powerpoint/2010/main" val="1751562569"/>
              </p:ext>
            </p:extLst>
          </p:nvPr>
        </p:nvGraphicFramePr>
        <p:xfrm>
          <a:off x="4788532" y="849705"/>
          <a:ext cx="3994077" cy="4222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6" r:lo="rId27" r:qs="rId28" r:cs="rId29"/>
          </a:graphicData>
        </a:graphic>
      </p:graphicFrame>
      <p:graphicFrame>
        <p:nvGraphicFramePr>
          <p:cNvPr id="39" name="Diagramm 38"/>
          <p:cNvGraphicFramePr/>
          <p:nvPr>
            <p:extLst>
              <p:ext uri="{D42A27DB-BD31-4B8C-83A1-F6EECF244321}">
                <p14:modId xmlns:p14="http://schemas.microsoft.com/office/powerpoint/2010/main" val="946459922"/>
              </p:ext>
            </p:extLst>
          </p:nvPr>
        </p:nvGraphicFramePr>
        <p:xfrm>
          <a:off x="401594" y="1909178"/>
          <a:ext cx="3977558" cy="4321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1" r:lo="rId32" r:qs="rId33" r:cs="rId34"/>
          </a:graphicData>
        </a:graphic>
      </p:graphicFrame>
      <p:graphicFrame>
        <p:nvGraphicFramePr>
          <p:cNvPr id="41" name="Diagramm 40"/>
          <p:cNvGraphicFramePr/>
          <p:nvPr>
            <p:extLst>
              <p:ext uri="{D42A27DB-BD31-4B8C-83A1-F6EECF244321}">
                <p14:modId xmlns:p14="http://schemas.microsoft.com/office/powerpoint/2010/main" val="823862051"/>
              </p:ext>
            </p:extLst>
          </p:nvPr>
        </p:nvGraphicFramePr>
        <p:xfrm>
          <a:off x="4628533" y="1585109"/>
          <a:ext cx="4140544" cy="6832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6" r:lo="rId37" r:qs="rId38" r:cs="rId39"/>
          </a:graphicData>
        </a:graphic>
      </p:graphicFrame>
      <p:graphicFrame>
        <p:nvGraphicFramePr>
          <p:cNvPr id="42" name="Diagramm 41"/>
          <p:cNvGraphicFramePr/>
          <p:nvPr>
            <p:extLst>
              <p:ext uri="{D42A27DB-BD31-4B8C-83A1-F6EECF244321}">
                <p14:modId xmlns:p14="http://schemas.microsoft.com/office/powerpoint/2010/main" val="1729521441"/>
              </p:ext>
            </p:extLst>
          </p:nvPr>
        </p:nvGraphicFramePr>
        <p:xfrm>
          <a:off x="230445" y="1160831"/>
          <a:ext cx="3355601" cy="6468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1" r:lo="rId42" r:qs="rId43" r:cs="rId44"/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-180528" y="3749700"/>
            <a:ext cx="1964522" cy="486000"/>
            <a:chOff x="-180528" y="3744937"/>
            <a:chExt cx="1964522" cy="486000"/>
          </a:xfrm>
        </p:grpSpPr>
        <p:pic>
          <p:nvPicPr>
            <p:cNvPr id="118" name="Picture 7" descr="\\bbs-fs\ReichmMi$\Eigene Dateien\SIZ I\Gestaltung\CMYK\Hamburg_Bug_NEU_CMYK.png"/>
            <p:cNvPicPr>
              <a:picLocks noChangeArrowheads="1"/>
            </p:cNvPicPr>
            <p:nvPr/>
          </p:nvPicPr>
          <p:blipFill rotWithShape="1">
            <a:blip r:embed="rId4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80528" y="3744937"/>
              <a:ext cx="1382400" cy="486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2" name="Picture 7" descr="\\bbs-fs\ReichmMi$\Eigene Dateien\SIZ I\Gestaltung\CMYK\Hamburg_Bug_NEU_CMYK.png"/>
            <p:cNvPicPr>
              <a:picLocks noChangeArrowheads="1"/>
            </p:cNvPicPr>
            <p:nvPr/>
          </p:nvPicPr>
          <p:blipFill rotWithShape="1">
            <a:blip r:embed="rId4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01594" y="3744937"/>
              <a:ext cx="1382400" cy="486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50145" y="4352147"/>
            <a:ext cx="6438102" cy="246221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Ihre Rolle als Elter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4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83130" y="4295257"/>
            <a:ext cx="360000" cy="360000"/>
          </a:xfrm>
        </p:spPr>
        <p:txBody>
          <a:bodyPr>
            <a:noAutofit/>
          </a:bodyPr>
          <a:lstStyle/>
          <a:p>
            <a:r>
              <a:rPr lang="de-DE" sz="1800" dirty="0" smtClean="0"/>
              <a:t>6</a:t>
            </a:r>
            <a:endParaRPr lang="de-DE" sz="1800" dirty="0"/>
          </a:p>
        </p:txBody>
      </p:sp>
      <p:pic>
        <p:nvPicPr>
          <p:cNvPr id="66" name="Picture 7" descr="\\bbs-fs\ReichmMi$\Eigene Dateien\SIZ I\Gestaltung\CMYK\Hamburg_Bug_NEU_CMYK.png"/>
          <p:cNvPicPr>
            <a:picLocks noChangeArrowheads="1"/>
          </p:cNvPicPr>
          <p:nvPr/>
        </p:nvPicPr>
        <p:blipFill rotWithShape="1"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1594" y="3744937"/>
            <a:ext cx="1382400" cy="4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7" descr="\\bbs-fs\ReichmMi$\Eigene Dateien\SIZ I\Gestaltung\CMYK\Hamburg_Bug_NEU_CMYK.png"/>
          <p:cNvPicPr>
            <a:picLocks noChangeArrowheads="1"/>
          </p:cNvPicPr>
          <p:nvPr/>
        </p:nvPicPr>
        <p:blipFill rotWithShape="1"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80528" y="3744937"/>
            <a:ext cx="1382400" cy="4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9335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2" fill="hold" grpId="0" nodeType="withEffect" nodePh="1">
                                  <p:stCondLst>
                                    <p:cond delay="1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anim calcmode="lin" valueType="num">
                                      <p:cBhvr additive="base">
                                        <p:cTn id="6" dur="20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20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7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7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2" fill="hold" grpId="0" nodeType="withEffect">
                                  <p:stCondLst>
                                    <p:cond delay="1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2" presetClass="entr" presetSubtype="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 build="p" animBg="1"/>
      <p:bldP spid="96" grpId="0" build="p"/>
      <p:bldGraphic spid="37" grpId="0">
        <p:bldAsOne/>
      </p:bldGraphic>
      <p:bldGraphic spid="38" grpId="0">
        <p:bldAsOne/>
      </p:bldGraphic>
      <p:bldGraphic spid="39" grpId="0">
        <p:bldAsOne/>
      </p:bldGraphic>
      <p:bldGraphic spid="41" grpId="0">
        <p:bldAsOne/>
      </p:bldGraphic>
      <p:bldGraphic spid="42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Grafik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2427734"/>
            <a:ext cx="2058650" cy="1679220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942" y="2439716"/>
            <a:ext cx="1360801" cy="256374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8" name="Grafik 3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5820" y="2524160"/>
            <a:ext cx="966601" cy="1738998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167348" y="2495590"/>
            <a:ext cx="972000" cy="15163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2" name="Grafik 5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8192" y="2440564"/>
            <a:ext cx="1101600" cy="18837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4" name="Grafik 5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2390668"/>
            <a:ext cx="1296001" cy="29548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5" name="Grafik 5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4339" y="2564735"/>
            <a:ext cx="1063800" cy="1761011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140" y="1591933"/>
            <a:ext cx="1268772" cy="3560244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20519" y="2489022"/>
            <a:ext cx="1231201" cy="201424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7" name="Grafik 5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056" y="3053518"/>
            <a:ext cx="972000" cy="19167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3" name="Grafik 6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4458" y="2591136"/>
            <a:ext cx="972000" cy="18215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4" name="Grafik 6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49" y="2390668"/>
            <a:ext cx="1296001" cy="38672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5" name="Grafik 64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447" y="2744571"/>
            <a:ext cx="1004400" cy="184207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58" name="Diagramm 57"/>
          <p:cNvGraphicFramePr/>
          <p:nvPr>
            <p:extLst>
              <p:ext uri="{D42A27DB-BD31-4B8C-83A1-F6EECF244321}">
                <p14:modId xmlns:p14="http://schemas.microsoft.com/office/powerpoint/2010/main" val="1095808559"/>
              </p:ext>
            </p:extLst>
          </p:nvPr>
        </p:nvGraphicFramePr>
        <p:xfrm>
          <a:off x="1182263" y="614643"/>
          <a:ext cx="2891042" cy="4482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graphicFrame>
        <p:nvGraphicFramePr>
          <p:cNvPr id="59" name="Diagramm 58"/>
          <p:cNvGraphicFramePr/>
          <p:nvPr>
            <p:extLst>
              <p:ext uri="{D42A27DB-BD31-4B8C-83A1-F6EECF244321}">
                <p14:modId xmlns:p14="http://schemas.microsoft.com/office/powerpoint/2010/main" val="4084383"/>
              </p:ext>
            </p:extLst>
          </p:nvPr>
        </p:nvGraphicFramePr>
        <p:xfrm>
          <a:off x="4788532" y="850462"/>
          <a:ext cx="3994077" cy="4222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  <p:graphicFrame>
        <p:nvGraphicFramePr>
          <p:cNvPr id="60" name="Diagramm 59"/>
          <p:cNvGraphicFramePr/>
          <p:nvPr>
            <p:extLst>
              <p:ext uri="{D42A27DB-BD31-4B8C-83A1-F6EECF244321}">
                <p14:modId xmlns:p14="http://schemas.microsoft.com/office/powerpoint/2010/main" val="1459730140"/>
              </p:ext>
            </p:extLst>
          </p:nvPr>
        </p:nvGraphicFramePr>
        <p:xfrm>
          <a:off x="401594" y="1909935"/>
          <a:ext cx="3977558" cy="4321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6" r:lo="rId27" r:qs="rId28" r:cs="rId29"/>
          </a:graphicData>
        </a:graphic>
      </p:graphicFrame>
      <p:graphicFrame>
        <p:nvGraphicFramePr>
          <p:cNvPr id="61" name="Diagramm 60"/>
          <p:cNvGraphicFramePr/>
          <p:nvPr>
            <p:extLst>
              <p:ext uri="{D42A27DB-BD31-4B8C-83A1-F6EECF244321}">
                <p14:modId xmlns:p14="http://schemas.microsoft.com/office/powerpoint/2010/main" val="4125427118"/>
              </p:ext>
            </p:extLst>
          </p:nvPr>
        </p:nvGraphicFramePr>
        <p:xfrm>
          <a:off x="4628533" y="1585866"/>
          <a:ext cx="4140544" cy="6832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1" r:lo="rId32" r:qs="rId33" r:cs="rId34"/>
          </a:graphicData>
        </a:graphic>
      </p:graphicFrame>
      <p:graphicFrame>
        <p:nvGraphicFramePr>
          <p:cNvPr id="62" name="Diagramm 61"/>
          <p:cNvGraphicFramePr/>
          <p:nvPr>
            <p:extLst>
              <p:ext uri="{D42A27DB-BD31-4B8C-83A1-F6EECF244321}">
                <p14:modId xmlns:p14="http://schemas.microsoft.com/office/powerpoint/2010/main" val="1645461462"/>
              </p:ext>
            </p:extLst>
          </p:nvPr>
        </p:nvGraphicFramePr>
        <p:xfrm>
          <a:off x="230445" y="1161588"/>
          <a:ext cx="3355601" cy="6468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6" r:lo="rId37" r:qs="rId38" r:cs="rId39"/>
          </a:graphicData>
        </a:graphic>
      </p:graphicFrame>
      <p:sp>
        <p:nvSpPr>
          <p:cNvPr id="22" name="Rechteck 21"/>
          <p:cNvSpPr/>
          <p:nvPr/>
        </p:nvSpPr>
        <p:spPr>
          <a:xfrm>
            <a:off x="-36512" y="3998695"/>
            <a:ext cx="9177960" cy="1144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smtClean="0"/>
          </a:p>
        </p:txBody>
      </p:sp>
      <p:pic>
        <p:nvPicPr>
          <p:cNvPr id="2051" name="Picture 3"/>
          <p:cNvPicPr>
            <a:picLocks noChangeArrowheads="1"/>
          </p:cNvPicPr>
          <p:nvPr/>
        </p:nvPicPr>
        <p:blipFill rotWithShape="1">
          <a:blip r:embed="rId41">
            <a:extLst>
              <a:ext uri="{BEBA8EAE-BF5A-486C-A8C5-ECC9F3942E4B}">
                <a14:imgProps xmlns:a14="http://schemas.microsoft.com/office/drawing/2010/main">
                  <a14:imgLayer r:embed="rId42">
                    <a14:imgEffect>
                      <a14:sharpenSoften amoun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9820" r="7946" b="766"/>
          <a:stretch/>
        </p:blipFill>
        <p:spPr bwMode="auto">
          <a:xfrm>
            <a:off x="6766948" y="3998695"/>
            <a:ext cx="2372400" cy="1144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9" name="Diagramm 98"/>
          <p:cNvGraphicFramePr/>
          <p:nvPr>
            <p:extLst>
              <p:ext uri="{D42A27DB-BD31-4B8C-83A1-F6EECF244321}">
                <p14:modId xmlns:p14="http://schemas.microsoft.com/office/powerpoint/2010/main" val="268374161"/>
              </p:ext>
            </p:extLst>
          </p:nvPr>
        </p:nvGraphicFramePr>
        <p:xfrm>
          <a:off x="4788601" y="627534"/>
          <a:ext cx="2469081" cy="2308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graphicFrame>
        <p:nvGraphicFramePr>
          <p:cNvPr id="102" name="Diagramm 101"/>
          <p:cNvGraphicFramePr/>
          <p:nvPr>
            <p:extLst>
              <p:ext uri="{D42A27DB-BD31-4B8C-83A1-F6EECF244321}">
                <p14:modId xmlns:p14="http://schemas.microsoft.com/office/powerpoint/2010/main" val="1220877847"/>
              </p:ext>
            </p:extLst>
          </p:nvPr>
        </p:nvGraphicFramePr>
        <p:xfrm>
          <a:off x="1907068" y="760253"/>
          <a:ext cx="1585063" cy="2740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8" r:lo="rId49" r:qs="rId50" r:cs="rId51"/>
          </a:graphicData>
        </a:graphic>
      </p:graphicFrame>
      <p:graphicFrame>
        <p:nvGraphicFramePr>
          <p:cNvPr id="103" name="Diagramm 102"/>
          <p:cNvGraphicFramePr/>
          <p:nvPr>
            <p:extLst>
              <p:ext uri="{D42A27DB-BD31-4B8C-83A1-F6EECF244321}">
                <p14:modId xmlns:p14="http://schemas.microsoft.com/office/powerpoint/2010/main" val="1927121236"/>
              </p:ext>
            </p:extLst>
          </p:nvPr>
        </p:nvGraphicFramePr>
        <p:xfrm>
          <a:off x="397794" y="1262671"/>
          <a:ext cx="3526134" cy="287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3" r:lo="rId54" r:qs="rId55" r:cs="rId56"/>
          </a:graphicData>
        </a:graphic>
      </p:graphicFrame>
      <p:graphicFrame>
        <p:nvGraphicFramePr>
          <p:cNvPr id="104" name="Diagramm 103"/>
          <p:cNvGraphicFramePr/>
          <p:nvPr>
            <p:extLst>
              <p:ext uri="{D42A27DB-BD31-4B8C-83A1-F6EECF244321}">
                <p14:modId xmlns:p14="http://schemas.microsoft.com/office/powerpoint/2010/main" val="3924759400"/>
              </p:ext>
            </p:extLst>
          </p:nvPr>
        </p:nvGraphicFramePr>
        <p:xfrm>
          <a:off x="4241764" y="1059582"/>
          <a:ext cx="3972840" cy="2561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8" r:lo="rId59" r:qs="rId60" r:cs="rId61"/>
          </a:graphicData>
        </a:graphic>
      </p:graphicFrame>
      <p:graphicFrame>
        <p:nvGraphicFramePr>
          <p:cNvPr id="105" name="Diagramm 104"/>
          <p:cNvGraphicFramePr/>
          <p:nvPr>
            <p:extLst>
              <p:ext uri="{D42A27DB-BD31-4B8C-83A1-F6EECF244321}">
                <p14:modId xmlns:p14="http://schemas.microsoft.com/office/powerpoint/2010/main" val="2422333768"/>
              </p:ext>
            </p:extLst>
          </p:nvPr>
        </p:nvGraphicFramePr>
        <p:xfrm>
          <a:off x="680316" y="1851670"/>
          <a:ext cx="1947468" cy="2686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3" r:lo="rId64" r:qs="rId65" r:cs="rId66"/>
          </a:graphicData>
        </a:graphic>
      </p:graphicFrame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50145" y="4352147"/>
            <a:ext cx="6438102" cy="246221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Ihre Rolle als Elter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4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83130" y="4295257"/>
            <a:ext cx="360000" cy="360000"/>
          </a:xfrm>
        </p:spPr>
        <p:txBody>
          <a:bodyPr>
            <a:noAutofit/>
          </a:bodyPr>
          <a:lstStyle/>
          <a:p>
            <a:r>
              <a:rPr lang="de-DE" sz="1800" dirty="0" smtClean="0"/>
              <a:t>6</a:t>
            </a:r>
            <a:endParaRPr lang="de-DE" sz="1800" dirty="0"/>
          </a:p>
        </p:txBody>
      </p:sp>
      <p:pic>
        <p:nvPicPr>
          <p:cNvPr id="92" name="Picture 7" descr="\\bbs-fs\ReichmMi$\Eigene Dateien\SIZ I\Gestaltung\CMYK\Hamburg_Bug_NEU_CMYK.png"/>
          <p:cNvPicPr>
            <a:picLocks noChangeArrowheads="1"/>
          </p:cNvPicPr>
          <p:nvPr/>
        </p:nvPicPr>
        <p:blipFill rotWithShape="1">
          <a:blip r:embed="rId6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1594" y="3744937"/>
            <a:ext cx="1382400" cy="4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7" descr="\\bbs-fs\ReichmMi$\Eigene Dateien\SIZ I\Gestaltung\CMYK\Hamburg_Bug_NEU_CMYK.png"/>
          <p:cNvPicPr>
            <a:picLocks noChangeArrowheads="1"/>
          </p:cNvPicPr>
          <p:nvPr/>
        </p:nvPicPr>
        <p:blipFill rotWithShape="1">
          <a:blip r:embed="rId6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80528" y="3744937"/>
            <a:ext cx="1382400" cy="4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1" name="Gesprächskultur"/>
          <p:cNvGraphicFramePr/>
          <p:nvPr>
            <p:extLst>
              <p:ext uri="{D42A27DB-BD31-4B8C-83A1-F6EECF244321}">
                <p14:modId xmlns:p14="http://schemas.microsoft.com/office/powerpoint/2010/main" val="1074852648"/>
              </p:ext>
            </p:extLst>
          </p:nvPr>
        </p:nvGraphicFramePr>
        <p:xfrm>
          <a:off x="4021200" y="1706400"/>
          <a:ext cx="4917864" cy="2858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9" r:lo="rId70" r:qs="rId71" r:cs="rId72"/>
          </a:graphicData>
        </a:graphic>
      </p:graphicFrame>
      <p:sp>
        <p:nvSpPr>
          <p:cNvPr id="32" name="Titel 3"/>
          <p:cNvSpPr txBox="1">
            <a:spLocks/>
          </p:cNvSpPr>
          <p:nvPr/>
        </p:nvSpPr>
        <p:spPr>
          <a:xfrm>
            <a:off x="0" y="111600"/>
            <a:ext cx="9577064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>
                <a:solidFill>
                  <a:srgbClr val="AAC686"/>
                </a:solidFill>
              </a:rPr>
              <a:t>Tipps und Ratschläge</a:t>
            </a:r>
            <a:endParaRPr lang="de-DE" dirty="0">
              <a:solidFill>
                <a:srgbClr val="AAC686"/>
              </a:solidFill>
            </a:endParaRPr>
          </a:p>
        </p:txBody>
      </p:sp>
      <p:sp>
        <p:nvSpPr>
          <p:cNvPr id="96" name="Titel 3"/>
          <p:cNvSpPr txBox="1">
            <a:spLocks/>
          </p:cNvSpPr>
          <p:nvPr/>
        </p:nvSpPr>
        <p:spPr>
          <a:xfrm>
            <a:off x="-36512" y="123419"/>
            <a:ext cx="9577064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>
                <a:solidFill>
                  <a:srgbClr val="AAC686"/>
                </a:solidFill>
              </a:rPr>
              <a:t>Bereiche, zu Denen Sie Fragen stellen KÖNNTEN </a:t>
            </a:r>
            <a:endParaRPr lang="de-DE" dirty="0">
              <a:solidFill>
                <a:srgbClr val="AAC6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952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200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200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2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2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"/>
                            </p:stCondLst>
                            <p:childTnLst>
                              <p:par>
                                <p:cTn id="14" presetID="2" presetClass="exit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5" dur="2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9" dur="2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00"/>
                            </p:stCondLst>
                            <p:childTnLst>
                              <p:par>
                                <p:cTn id="23" presetID="2" presetClass="exit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4" dur="2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2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28" dur="4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399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" presetClass="exit" presetSubtype="2" fill="hold" grpId="1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8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8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8" grpId="0">
        <p:bldAsOne/>
      </p:bldGraphic>
      <p:bldGraphic spid="59" grpId="0">
        <p:bldAsOne/>
      </p:bldGraphic>
      <p:bldGraphic spid="60" grpId="0">
        <p:bldAsOne/>
      </p:bldGraphic>
      <p:bldGraphic spid="61" grpId="0">
        <p:bldAsOne/>
      </p:bldGraphic>
      <p:bldGraphic spid="62" grpId="0">
        <p:bldAsOne/>
      </p:bldGraphic>
      <p:bldGraphic spid="99" grpId="0">
        <p:bldAsOne/>
      </p:bldGraphic>
      <p:bldGraphic spid="102" grpId="0">
        <p:bldAsOne/>
      </p:bldGraphic>
      <p:bldGraphic spid="103" grpId="0">
        <p:bldAsOne/>
      </p:bldGraphic>
      <p:bldGraphic spid="104" grpId="0">
        <p:bldAsOne/>
      </p:bldGraphic>
      <p:bldGraphic spid="105" grpId="0">
        <p:bldAsOne/>
      </p:bldGraphic>
      <p:bldGraphic spid="31" grpId="0">
        <p:bldAsOne/>
      </p:bldGraphic>
      <p:bldP spid="32" grpId="1" build="allAtOnce"/>
      <p:bldP spid="32" grpId="2" build="allAtOnce"/>
      <p:bldP spid="96" grpId="0" build="p"/>
      <p:bldP spid="96" grpId="1" build="allAtOnce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2427734"/>
            <a:ext cx="2058650" cy="1679220"/>
          </a:xfrm>
          <a:prstGeom prst="rect">
            <a:avLst/>
          </a:prstGeom>
        </p:spPr>
      </p:pic>
      <p:pic>
        <p:nvPicPr>
          <p:cNvPr id="44" name="Grafik 4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942" y="2439716"/>
            <a:ext cx="1360801" cy="256374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5" name="Grafik 4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5820" y="2524160"/>
            <a:ext cx="966601" cy="1738998"/>
          </a:xfrm>
          <a:prstGeom prst="rect">
            <a:avLst/>
          </a:prstGeom>
        </p:spPr>
      </p:pic>
      <p:pic>
        <p:nvPicPr>
          <p:cNvPr id="47" name="Grafik 4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167348" y="2495590"/>
            <a:ext cx="972000" cy="15163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8" name="Grafik 4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8192" y="2440564"/>
            <a:ext cx="1101600" cy="18837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0" name="Grafik 4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2390668"/>
            <a:ext cx="1296001" cy="29548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1" name="Grafik 5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4339" y="2564735"/>
            <a:ext cx="1063800" cy="1761011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800" y="1591933"/>
            <a:ext cx="1268772" cy="3560244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056" y="3053518"/>
            <a:ext cx="972000" cy="19167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4" name="Grafik 5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4458" y="2591136"/>
            <a:ext cx="972000" cy="18215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5" name="Grafik 5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49" y="2390668"/>
            <a:ext cx="1296001" cy="38672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Grafik 3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20519" y="2489022"/>
            <a:ext cx="1231201" cy="201424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7" name="Grafik 76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447" y="2744571"/>
            <a:ext cx="1004400" cy="184207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41" name="Gesprächskultur"/>
          <p:cNvGraphicFramePr/>
          <p:nvPr>
            <p:extLst>
              <p:ext uri="{D42A27DB-BD31-4B8C-83A1-F6EECF244321}">
                <p14:modId xmlns:p14="http://schemas.microsoft.com/office/powerpoint/2010/main" val="1314934660"/>
              </p:ext>
            </p:extLst>
          </p:nvPr>
        </p:nvGraphicFramePr>
        <p:xfrm>
          <a:off x="4021483" y="1706753"/>
          <a:ext cx="4917864" cy="2858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sp>
        <p:nvSpPr>
          <p:cNvPr id="22" name="Rechteck 21"/>
          <p:cNvSpPr/>
          <p:nvPr/>
        </p:nvSpPr>
        <p:spPr>
          <a:xfrm>
            <a:off x="-16075" y="3998695"/>
            <a:ext cx="9177960" cy="1144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smtClean="0"/>
          </a:p>
        </p:txBody>
      </p:sp>
      <p:pic>
        <p:nvPicPr>
          <p:cNvPr id="2051" name="Picture 3"/>
          <p:cNvPicPr>
            <a:picLocks noChangeArrowheads="1"/>
          </p:cNvPicPr>
          <p:nvPr/>
        </p:nvPicPr>
        <p:blipFill rotWithShape="1"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sharpenSoften amoun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9820" r="7946" b="766"/>
          <a:stretch/>
        </p:blipFill>
        <p:spPr bwMode="auto">
          <a:xfrm>
            <a:off x="6766948" y="3998695"/>
            <a:ext cx="2372400" cy="1144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" name="Titel 3"/>
          <p:cNvSpPr txBox="1">
            <a:spLocks/>
          </p:cNvSpPr>
          <p:nvPr/>
        </p:nvSpPr>
        <p:spPr>
          <a:xfrm>
            <a:off x="-36512" y="121586"/>
            <a:ext cx="9577064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>
                <a:solidFill>
                  <a:srgbClr val="AAC686"/>
                </a:solidFill>
              </a:rPr>
              <a:t>Bereiche, zu Denen Sie Fragen stellen KÖNNTEN</a:t>
            </a:r>
            <a:endParaRPr lang="de-DE" dirty="0">
              <a:solidFill>
                <a:srgbClr val="AAC686"/>
              </a:solidFill>
            </a:endParaRPr>
          </a:p>
        </p:txBody>
      </p:sp>
      <p:graphicFrame>
        <p:nvGraphicFramePr>
          <p:cNvPr id="99" name="Höhepunkte im Schulleben"/>
          <p:cNvGraphicFramePr/>
          <p:nvPr>
            <p:extLst>
              <p:ext uri="{D42A27DB-BD31-4B8C-83A1-F6EECF244321}">
                <p14:modId xmlns:p14="http://schemas.microsoft.com/office/powerpoint/2010/main" val="68441909"/>
              </p:ext>
            </p:extLst>
          </p:nvPr>
        </p:nvGraphicFramePr>
        <p:xfrm>
          <a:off x="4788601" y="627534"/>
          <a:ext cx="2469081" cy="2308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104" name="Vernetzung im Stadtteil, Kooperationsp."/>
          <p:cNvGraphicFramePr/>
          <p:nvPr>
            <p:extLst>
              <p:ext uri="{D42A27DB-BD31-4B8C-83A1-F6EECF244321}">
                <p14:modId xmlns:p14="http://schemas.microsoft.com/office/powerpoint/2010/main" val="4025991240"/>
              </p:ext>
            </p:extLst>
          </p:nvPr>
        </p:nvGraphicFramePr>
        <p:xfrm>
          <a:off x="4241764" y="1059582"/>
          <a:ext cx="3972840" cy="2561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05" name="Fördern und Fordern"/>
          <p:cNvGraphicFramePr/>
          <p:nvPr>
            <p:extLst>
              <p:ext uri="{D42A27DB-BD31-4B8C-83A1-F6EECF244321}">
                <p14:modId xmlns:p14="http://schemas.microsoft.com/office/powerpoint/2010/main" val="312451917"/>
              </p:ext>
            </p:extLst>
          </p:nvPr>
        </p:nvGraphicFramePr>
        <p:xfrm>
          <a:off x="680316" y="1851670"/>
          <a:ext cx="1947468" cy="2686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102" name="Ganztag"/>
          <p:cNvGraphicFramePr/>
          <p:nvPr>
            <p:extLst>
              <p:ext uri="{D42A27DB-BD31-4B8C-83A1-F6EECF244321}">
                <p14:modId xmlns:p14="http://schemas.microsoft.com/office/powerpoint/2010/main" val="2349872499"/>
              </p:ext>
            </p:extLst>
          </p:nvPr>
        </p:nvGraphicFramePr>
        <p:xfrm>
          <a:off x="1907068" y="760253"/>
          <a:ext cx="1585063" cy="2740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103" name="Unterricht - Angebote und Organisation"/>
          <p:cNvGraphicFramePr/>
          <p:nvPr>
            <p:extLst>
              <p:ext uri="{D42A27DB-BD31-4B8C-83A1-F6EECF244321}">
                <p14:modId xmlns:p14="http://schemas.microsoft.com/office/powerpoint/2010/main" val="2482476999"/>
              </p:ext>
            </p:extLst>
          </p:nvPr>
        </p:nvGraphicFramePr>
        <p:xfrm>
          <a:off x="397794" y="1262671"/>
          <a:ext cx="3526134" cy="287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50145" y="4352147"/>
            <a:ext cx="6438102" cy="246221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Ihre Rolle als Elter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4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83130" y="4295257"/>
            <a:ext cx="360000" cy="360000"/>
          </a:xfrm>
        </p:spPr>
        <p:txBody>
          <a:bodyPr>
            <a:noAutofit/>
          </a:bodyPr>
          <a:lstStyle/>
          <a:p>
            <a:r>
              <a:rPr lang="de-DE" sz="1800" dirty="0" smtClean="0"/>
              <a:t>6</a:t>
            </a:r>
            <a:endParaRPr lang="de-DE" sz="1800" dirty="0"/>
          </a:p>
        </p:txBody>
      </p:sp>
      <p:pic>
        <p:nvPicPr>
          <p:cNvPr id="92" name="Picture 7" descr="\\bbs-fs\ReichmMi$\Eigene Dateien\SIZ I\Gestaltung\CMYK\Hamburg_Bug_NEU_CMYK.png"/>
          <p:cNvPicPr>
            <a:picLocks noChangeArrowheads="1"/>
          </p:cNvPicPr>
          <p:nvPr/>
        </p:nvPicPr>
        <p:blipFill rotWithShape="1"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1594" y="3744937"/>
            <a:ext cx="1382400" cy="4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7" descr="\\bbs-fs\ReichmMi$\Eigene Dateien\SIZ I\Gestaltung\CMYK\Hamburg_Bug_NEU_CMYK.png"/>
          <p:cNvPicPr>
            <a:picLocks noChangeArrowheads="1"/>
          </p:cNvPicPr>
          <p:nvPr/>
        </p:nvPicPr>
        <p:blipFill rotWithShape="1"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80528" y="3744937"/>
            <a:ext cx="1382400" cy="4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itel 3"/>
          <p:cNvSpPr txBox="1">
            <a:spLocks/>
          </p:cNvSpPr>
          <p:nvPr/>
        </p:nvSpPr>
        <p:spPr>
          <a:xfrm>
            <a:off x="-36512" y="123478"/>
            <a:ext cx="9577064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>
                <a:solidFill>
                  <a:srgbClr val="AAC686"/>
                </a:solidFill>
              </a:rPr>
              <a:t>Konkrete Fragen</a:t>
            </a:r>
            <a:endParaRPr lang="de-DE" dirty="0">
              <a:solidFill>
                <a:srgbClr val="AAC686"/>
              </a:solidFill>
            </a:endParaRPr>
          </a:p>
        </p:txBody>
      </p:sp>
      <p:graphicFrame>
        <p:nvGraphicFramePr>
          <p:cNvPr id="66" name="Was macht diese Schule so besonders?"/>
          <p:cNvGraphicFramePr/>
          <p:nvPr>
            <p:extLst>
              <p:ext uri="{D42A27DB-BD31-4B8C-83A1-F6EECF244321}">
                <p14:modId xmlns:p14="http://schemas.microsoft.com/office/powerpoint/2010/main" val="1412527132"/>
              </p:ext>
            </p:extLst>
          </p:nvPr>
        </p:nvGraphicFramePr>
        <p:xfrm>
          <a:off x="457509" y="1820068"/>
          <a:ext cx="8084968" cy="36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9" r:lo="rId50" r:qs="rId51" r:cs="rId52"/>
          </a:graphicData>
        </a:graphic>
      </p:graphicFrame>
      <p:graphicFrame>
        <p:nvGraphicFramePr>
          <p:cNvPr id="68" name="Projektwochen"/>
          <p:cNvGraphicFramePr/>
          <p:nvPr>
            <p:extLst>
              <p:ext uri="{D42A27DB-BD31-4B8C-83A1-F6EECF244321}">
                <p14:modId xmlns:p14="http://schemas.microsoft.com/office/powerpoint/2010/main" val="4074942338"/>
              </p:ext>
            </p:extLst>
          </p:nvPr>
        </p:nvGraphicFramePr>
        <p:xfrm>
          <a:off x="855873" y="1820048"/>
          <a:ext cx="7288240" cy="360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4" r:lo="rId55" r:qs="rId56" r:cs="rId57"/>
          </a:graphicData>
        </a:graphic>
      </p:graphicFrame>
      <p:graphicFrame>
        <p:nvGraphicFramePr>
          <p:cNvPr id="64" name="Gibt es Programme, die das Miteinander der Schüler stärken?"/>
          <p:cNvGraphicFramePr/>
          <p:nvPr>
            <p:extLst>
              <p:ext uri="{D42A27DB-BD31-4B8C-83A1-F6EECF244321}">
                <p14:modId xmlns:p14="http://schemas.microsoft.com/office/powerpoint/2010/main" val="952456038"/>
              </p:ext>
            </p:extLst>
          </p:nvPr>
        </p:nvGraphicFramePr>
        <p:xfrm>
          <a:off x="35497" y="1829139"/>
          <a:ext cx="8928992" cy="3418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9" r:lo="rId60" r:qs="rId61" r:cs="rId62"/>
          </a:graphicData>
        </a:graphic>
      </p:graphicFrame>
      <p:graphicFrame>
        <p:nvGraphicFramePr>
          <p:cNvPr id="65" name="Ankommen neue Klassengemeinschaft"/>
          <p:cNvGraphicFramePr/>
          <p:nvPr>
            <p:extLst>
              <p:ext uri="{D42A27DB-BD31-4B8C-83A1-F6EECF244321}">
                <p14:modId xmlns:p14="http://schemas.microsoft.com/office/powerpoint/2010/main" val="3568239224"/>
              </p:ext>
            </p:extLst>
          </p:nvPr>
        </p:nvGraphicFramePr>
        <p:xfrm>
          <a:off x="215577" y="1820048"/>
          <a:ext cx="8568833" cy="360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4" r:lo="rId65" r:qs="rId66" r:cs="rId67"/>
          </a:graphicData>
        </a:graphic>
      </p:graphicFrame>
      <p:graphicFrame>
        <p:nvGraphicFramePr>
          <p:cNvPr id="63" name="Worauf legt Schule Wert im Kontakt mit SuS und Eltern"/>
          <p:cNvGraphicFramePr/>
          <p:nvPr>
            <p:extLst>
              <p:ext uri="{D42A27DB-BD31-4B8C-83A1-F6EECF244321}">
                <p14:modId xmlns:p14="http://schemas.microsoft.com/office/powerpoint/2010/main" val="1965823138"/>
              </p:ext>
            </p:extLst>
          </p:nvPr>
        </p:nvGraphicFramePr>
        <p:xfrm>
          <a:off x="452226" y="1820068"/>
          <a:ext cx="8095535" cy="36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9" r:lo="rId70" r:qs="rId71" r:cs="rId72"/>
          </a:graphicData>
        </a:graphic>
      </p:graphicFrame>
      <p:graphicFrame>
        <p:nvGraphicFramePr>
          <p:cNvPr id="46" name="Welche Angebote für besonders leistungsfähige oder begabte Schüler gibt es?"/>
          <p:cNvGraphicFramePr/>
          <p:nvPr>
            <p:extLst>
              <p:ext uri="{D42A27DB-BD31-4B8C-83A1-F6EECF244321}">
                <p14:modId xmlns:p14="http://schemas.microsoft.com/office/powerpoint/2010/main" val="3701847471"/>
              </p:ext>
            </p:extLst>
          </p:nvPr>
        </p:nvGraphicFramePr>
        <p:xfrm>
          <a:off x="841873" y="1820068"/>
          <a:ext cx="7316241" cy="36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4" r:lo="rId75" r:qs="rId76" r:cs="rId77"/>
          </a:graphicData>
        </a:graphic>
      </p:graphicFrame>
      <p:graphicFrame>
        <p:nvGraphicFramePr>
          <p:cNvPr id="49" name="Welche Angebote für Schüler mit Lernschwierigkeiten gibt es?"/>
          <p:cNvGraphicFramePr/>
          <p:nvPr>
            <p:extLst>
              <p:ext uri="{D42A27DB-BD31-4B8C-83A1-F6EECF244321}">
                <p14:modId xmlns:p14="http://schemas.microsoft.com/office/powerpoint/2010/main" val="4146225942"/>
              </p:ext>
            </p:extLst>
          </p:nvPr>
        </p:nvGraphicFramePr>
        <p:xfrm>
          <a:off x="1511407" y="1820068"/>
          <a:ext cx="5977172" cy="36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9" r:lo="rId80" r:qs="rId81" r:cs="rId82"/>
          </a:graphicData>
        </a:graphic>
      </p:graphicFrame>
      <p:graphicFrame>
        <p:nvGraphicFramePr>
          <p:cNvPr id="43" name="Welche Kurse gibt es im Ganztag"/>
          <p:cNvGraphicFramePr/>
          <p:nvPr>
            <p:extLst>
              <p:ext uri="{D42A27DB-BD31-4B8C-83A1-F6EECF244321}">
                <p14:modId xmlns:p14="http://schemas.microsoft.com/office/powerpoint/2010/main" val="3075556262"/>
              </p:ext>
            </p:extLst>
          </p:nvPr>
        </p:nvGraphicFramePr>
        <p:xfrm>
          <a:off x="2933787" y="1820068"/>
          <a:ext cx="3132412" cy="36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4" r:lo="rId85" r:qs="rId86" r:cs="rId87"/>
          </a:graphicData>
        </a:graphic>
      </p:graphicFrame>
      <p:graphicFrame>
        <p:nvGraphicFramePr>
          <p:cNvPr id="34" name="Wieviel viele Unterrichtsstunden pro Woche gibt es?"/>
          <p:cNvGraphicFramePr/>
          <p:nvPr>
            <p:extLst>
              <p:ext uri="{D42A27DB-BD31-4B8C-83A1-F6EECF244321}">
                <p14:modId xmlns:p14="http://schemas.microsoft.com/office/powerpoint/2010/main" val="3988556404"/>
              </p:ext>
            </p:extLst>
          </p:nvPr>
        </p:nvGraphicFramePr>
        <p:xfrm>
          <a:off x="2286498" y="1820068"/>
          <a:ext cx="4426990" cy="36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9" r:lo="rId90" r:qs="rId91" r:cs="rId92"/>
          </a:graphicData>
        </a:graphic>
      </p:graphicFrame>
      <p:graphicFrame>
        <p:nvGraphicFramePr>
          <p:cNvPr id="56" name="Haben SIe noch Fragen an uns?"/>
          <p:cNvGraphicFramePr/>
          <p:nvPr>
            <p:extLst>
              <p:ext uri="{D42A27DB-BD31-4B8C-83A1-F6EECF244321}">
                <p14:modId xmlns:p14="http://schemas.microsoft.com/office/powerpoint/2010/main" val="1865220137"/>
              </p:ext>
            </p:extLst>
          </p:nvPr>
        </p:nvGraphicFramePr>
        <p:xfrm>
          <a:off x="3041993" y="1820068"/>
          <a:ext cx="2916000" cy="36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4" r:lo="rId95" r:qs="rId96" r:cs="rId97"/>
          </a:graphicData>
        </a:graphic>
      </p:graphicFrame>
    </p:spTree>
    <p:extLst>
      <p:ext uri="{BB962C8B-B14F-4D97-AF65-F5344CB8AC3E}">
        <p14:creationId xmlns:p14="http://schemas.microsoft.com/office/powerpoint/2010/main" val="122880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200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200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8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200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200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200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200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2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2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" presetClass="exit" presetSubtype="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200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00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" presetClass="exit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200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200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" presetClass="exit" presetSubtype="2" fill="hold" grpId="0" nodeType="withEffect">
                                  <p:stCondLst>
                                    <p:cond delay="3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anim calcmode="lin" valueType="num">
                                      <p:cBhvr additive="base">
                                        <p:cTn id="30" dur="200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200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-2.46914E-7 L -3.88889E-6 -0.6463 " pathEditMode="relative" rAng="0" ptsTypes="AA">
                                      <p:cBhvr>
                                        <p:cTn id="44" dur="5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2315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4" presetClass="entr" presetSubtype="10" fill="hold" grpId="1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accel="50000" decel="50000" fill="hold" grpId="0" nodeType="withEffect">
                                  <p:stCondLst>
                                    <p:cond delay="3800"/>
                                  </p:stCondLst>
                                  <p:childTnLst>
                                    <p:animMotion origin="layout" path="M -3.88889E-6 -2.46914E-7 L -3.88889E-6 -0.6463 " pathEditMode="relative" rAng="0" ptsTypes="AA">
                                      <p:cBhvr>
                                        <p:cTn id="49" dur="5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2315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4" presetClass="entr" presetSubtype="10" fill="hold" grpId="1" nodeType="withEffect">
                                  <p:stCondLst>
                                    <p:cond delay="6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accel="50000" decel="50000" fill="hold" grpId="0" nodeType="withEffect">
                                  <p:stCondLst>
                                    <p:cond delay="7800"/>
                                  </p:stCondLst>
                                  <p:childTnLst>
                                    <p:animMotion origin="layout" path="M -3.88889E-6 -2.46914E-7 L -3.88889E-6 -0.6463 " pathEditMode="relative" rAng="0" ptsTypes="AA">
                                      <p:cBhvr>
                                        <p:cTn id="54" dur="5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2315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4" presetClass="entr" presetSubtype="10" fill="hold" grpId="1" nodeType="with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accel="50000" decel="50000" fill="hold" grpId="0" nodeType="withEffect">
                                  <p:stCondLst>
                                    <p:cond delay="11800"/>
                                  </p:stCondLst>
                                  <p:childTnLst>
                                    <p:animMotion origin="layout" path="M -3.88889E-6 -2.46914E-7 L -3.88889E-6 -0.6463 " pathEditMode="relative" rAng="0" ptsTypes="AA">
                                      <p:cBhvr>
                                        <p:cTn id="59" dur="5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2315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4" presetClass="entr" presetSubtype="10" fill="hold" grpId="1" nodeType="withEffect">
                                  <p:stCondLst>
                                    <p:cond delay="142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accel="50000" decel="50000" fill="hold" grpId="0" nodeType="withEffect">
                                  <p:stCondLst>
                                    <p:cond delay="15800"/>
                                  </p:stCondLst>
                                  <p:childTnLst>
                                    <p:animMotion origin="layout" path="M -3.88889E-6 -2.46914E-7 L -3.88889E-6 -0.6463 " pathEditMode="relative" rAng="0" ptsTypes="AA">
                                      <p:cBhvr>
                                        <p:cTn id="64" dur="5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2315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4" presetClass="entr" presetSubtype="10" fill="hold" grpId="1" nodeType="withEffect">
                                  <p:stCondLst>
                                    <p:cond delay="181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accel="50000" decel="50000" fill="hold" grpId="0" nodeType="withEffect">
                                  <p:stCondLst>
                                    <p:cond delay="19800"/>
                                  </p:stCondLst>
                                  <p:childTnLst>
                                    <p:animMotion origin="layout" path="M -3.88889E-6 -2.46914E-7 L -3.88889E-6 -0.6463 " pathEditMode="relative" rAng="0" ptsTypes="AA">
                                      <p:cBhvr>
                                        <p:cTn id="69" dur="5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2315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4" presetClass="entr" presetSubtype="10" fill="hold" grpId="1" nodeType="withEffect">
                                  <p:stCondLst>
                                    <p:cond delay="222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accel="50000" decel="50000" fill="hold" grpId="0" nodeType="withEffect">
                                  <p:stCondLst>
                                    <p:cond delay="24100"/>
                                  </p:stCondLst>
                                  <p:childTnLst>
                                    <p:animMotion origin="layout" path="M -3.88889E-6 1.11111E-6 L -3.88889E-6 -0.6463 " pathEditMode="relative" rAng="0" ptsTypes="AA">
                                      <p:cBhvr>
                                        <p:cTn id="74" dur="5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2315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4" presetClass="entr" presetSubtype="10" fill="hold" grpId="1" nodeType="withEffect">
                                  <p:stCondLst>
                                    <p:cond delay="264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2" presetClass="path" presetSubtype="0" accel="50000" decel="50000" fill="hold" grpId="0" nodeType="withEffect">
                                  <p:stCondLst>
                                    <p:cond delay="28000"/>
                                  </p:stCondLst>
                                  <p:childTnLst>
                                    <p:animMotion origin="layout" path="M -3.88889E-6 -2.46914E-7 L -3.88889E-6 -0.6463 " pathEditMode="relative" rAng="0" ptsTypes="AA">
                                      <p:cBhvr>
                                        <p:cTn id="79" dur="5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2315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4" presetClass="entr" presetSubtype="10" fill="hold" grpId="1" nodeType="withEffect">
                                  <p:stCondLst>
                                    <p:cond delay="304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42" presetClass="path" presetSubtype="0" accel="50000" decel="50000" fill="hold" grpId="2" nodeType="withEffect">
                                  <p:stCondLst>
                                    <p:cond delay="32600"/>
                                  </p:stCondLst>
                                  <p:childTnLst>
                                    <p:animMotion origin="layout" path="M -3.88889E-6 -2.46914E-7 L -0.00034 -0.6463 " pathEditMode="relative" rAng="0" ptsTypes="AA">
                                      <p:cBhvr>
                                        <p:cTn id="84" dur="5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2315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1" nodeType="withEffect">
                                  <p:stCondLst>
                                    <p:cond delay="351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1" grpId="0">
        <p:bldAsOne/>
      </p:bldGraphic>
      <p:bldP spid="96" grpId="0"/>
      <p:bldGraphic spid="99" grpId="0">
        <p:bldAsOne/>
      </p:bldGraphic>
      <p:bldGraphic spid="104" grpId="0">
        <p:bldAsOne/>
      </p:bldGraphic>
      <p:bldGraphic spid="105" grpId="0">
        <p:bldAsOne/>
      </p:bldGraphic>
      <p:bldGraphic spid="102" grpId="0">
        <p:bldAsOne/>
      </p:bldGraphic>
      <p:bldGraphic spid="103" grpId="0">
        <p:bldAsOne/>
      </p:bldGraphic>
      <p:bldP spid="31" grpId="0"/>
      <p:bldGraphic spid="66" grpId="1">
        <p:bldAsOne/>
      </p:bldGraphic>
      <p:bldGraphic spid="66" grpId="2">
        <p:bldAsOne/>
      </p:bldGraphic>
      <p:bldGraphic spid="68" grpId="0">
        <p:bldAsOne/>
      </p:bldGraphic>
      <p:bldGraphic spid="68" grpId="1">
        <p:bldAsOne/>
      </p:bldGraphic>
      <p:bldGraphic spid="64" grpId="0">
        <p:bldAsOne/>
      </p:bldGraphic>
      <p:bldGraphic spid="64" grpId="1">
        <p:bldAsOne/>
      </p:bldGraphic>
      <p:bldGraphic spid="65" grpId="0">
        <p:bldAsOne/>
      </p:bldGraphic>
      <p:bldGraphic spid="65" grpId="1">
        <p:bldAsOne/>
      </p:bldGraphic>
      <p:bldGraphic spid="63" grpId="0">
        <p:bldAsOne/>
      </p:bldGraphic>
      <p:bldGraphic spid="63" grpId="1">
        <p:bldAsOne/>
      </p:bldGraphic>
      <p:bldGraphic spid="46" grpId="0">
        <p:bldAsOne/>
      </p:bldGraphic>
      <p:bldGraphic spid="46" grpId="1">
        <p:bldAsOne/>
      </p:bldGraphic>
      <p:bldGraphic spid="49" grpId="0">
        <p:bldAsOne/>
      </p:bldGraphic>
      <p:bldGraphic spid="49" grpId="1">
        <p:bldAsOne/>
      </p:bldGraphic>
      <p:bldGraphic spid="43" grpId="0">
        <p:bldAsOne/>
      </p:bldGraphic>
      <p:bldGraphic spid="43" grpId="1">
        <p:bldAsOne/>
      </p:bldGraphic>
      <p:bldGraphic spid="34" grpId="0">
        <p:bldAsOne/>
      </p:bldGraphic>
      <p:bldGraphic spid="34" grpId="1">
        <p:bldAsOne/>
      </p:bldGraphic>
      <p:bldGraphic spid="56" grpId="1">
        <p:bldAsOne/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Grafik 5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2427734"/>
            <a:ext cx="2058650" cy="1679220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942" y="2439716"/>
            <a:ext cx="1360801" cy="256374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7" name="Grafik 5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5820" y="2524160"/>
            <a:ext cx="966601" cy="1738998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167348" y="2495590"/>
            <a:ext cx="972000" cy="15163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9" name="Grafik 5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8192" y="2440564"/>
            <a:ext cx="1101600" cy="18837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0" name="Grafik 5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2390668"/>
            <a:ext cx="1296001" cy="29548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1" name="Grafik 6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4339" y="2564735"/>
            <a:ext cx="1063800" cy="1761011"/>
          </a:xfrm>
          <a:prstGeom prst="rect">
            <a:avLst/>
          </a:prstGeom>
        </p:spPr>
      </p:pic>
      <p:pic>
        <p:nvPicPr>
          <p:cNvPr id="62" name="Grafik 6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800" y="1591933"/>
            <a:ext cx="1268772" cy="3560244"/>
          </a:xfrm>
          <a:prstGeom prst="rect">
            <a:avLst/>
          </a:prstGeom>
        </p:spPr>
      </p:pic>
      <p:pic>
        <p:nvPicPr>
          <p:cNvPr id="63" name="Grafik 6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056" y="3053518"/>
            <a:ext cx="972000" cy="19167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4" name="Grafik 6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4458" y="2591136"/>
            <a:ext cx="972000" cy="18215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4" name="Grafik 5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20519" y="2489022"/>
            <a:ext cx="1231201" cy="201424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5" name="Grafik 6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249" y="2390668"/>
            <a:ext cx="1296001" cy="38672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6" name="Grafik 65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447" y="2744571"/>
            <a:ext cx="1004400" cy="184207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Textplatzhalter 6"/>
          <p:cNvSpPr>
            <a:spLocks noGrp="1"/>
          </p:cNvSpPr>
          <p:nvPr>
            <p:ph type="body" sz="quarter" idx="4294967295"/>
          </p:nvPr>
        </p:nvSpPr>
        <p:spPr>
          <a:xfrm>
            <a:off x="235124" y="505827"/>
            <a:ext cx="8785225" cy="2893100"/>
          </a:xfrm>
          <a:prstGeom prst="rect">
            <a:avLst/>
          </a:prstGeom>
        </p:spPr>
        <p:txBody>
          <a:bodyPr/>
          <a:lstStyle/>
          <a:p>
            <a:endParaRPr lang="de-DE" dirty="0" smtClean="0"/>
          </a:p>
          <a:p>
            <a:r>
              <a:rPr lang="de-DE" dirty="0" smtClean="0"/>
              <a:t>Termine </a:t>
            </a:r>
            <a:r>
              <a:rPr lang="de-DE" dirty="0"/>
              <a:t>der Marktplätze</a:t>
            </a:r>
            <a:r>
              <a:rPr lang="de-DE" dirty="0" smtClean="0"/>
              <a:t>: </a:t>
            </a:r>
            <a:endParaRPr lang="de-DE" b="0" dirty="0" smtClean="0"/>
          </a:p>
          <a:p>
            <a:r>
              <a:rPr lang="de-DE" dirty="0" smtClean="0"/>
              <a:t>Tage der offenen Tür in unserer Region: </a:t>
            </a:r>
          </a:p>
          <a:p>
            <a:pPr>
              <a:tabLst>
                <a:tab pos="1790700" algn="l"/>
              </a:tabLst>
            </a:pPr>
            <a:r>
              <a:rPr lang="de-DE" dirty="0" smtClean="0"/>
              <a:t>Anmeldezeitraum:		</a:t>
            </a:r>
            <a:endParaRPr lang="de-DE" b="0" dirty="0"/>
          </a:p>
          <a:p>
            <a:pPr marL="1790700" indent="-1790700"/>
            <a:r>
              <a:rPr lang="de-DE" dirty="0" smtClean="0"/>
              <a:t>Formalitäten: 	</a:t>
            </a:r>
            <a:r>
              <a:rPr lang="de-DE" sz="1050" dirty="0" smtClean="0"/>
              <a:t/>
            </a:r>
            <a:br>
              <a:rPr lang="de-DE" sz="1050" dirty="0" smtClean="0"/>
            </a:br>
            <a:endParaRPr lang="de-DE" b="0" dirty="0" smtClean="0"/>
          </a:p>
          <a:p>
            <a:r>
              <a:rPr lang="de-DE" dirty="0" smtClean="0"/>
              <a:t>Kriterien für die Vergabe der Schulplätze:</a:t>
            </a:r>
          </a:p>
          <a:p>
            <a:endParaRPr lang="de-DE" dirty="0"/>
          </a:p>
        </p:txBody>
      </p:sp>
      <p:sp>
        <p:nvSpPr>
          <p:cNvPr id="22" name="Rechteck 21"/>
          <p:cNvSpPr/>
          <p:nvPr/>
        </p:nvSpPr>
        <p:spPr>
          <a:xfrm>
            <a:off x="10160" y="3998695"/>
            <a:ext cx="9139348" cy="1144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smtClean="0"/>
          </a:p>
        </p:txBody>
      </p:sp>
      <p:pic>
        <p:nvPicPr>
          <p:cNvPr id="2051" name="Picture 3"/>
          <p:cNvPicPr>
            <a:picLocks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harpenSoften amoun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9820" r="7946" b="766"/>
          <a:stretch/>
        </p:blipFill>
        <p:spPr bwMode="auto">
          <a:xfrm>
            <a:off x="6766948" y="3998695"/>
            <a:ext cx="2372400" cy="1144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50145" y="4352147"/>
            <a:ext cx="6438102" cy="246221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Ihre Rolle als Elter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4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83130" y="4295257"/>
            <a:ext cx="360000" cy="360000"/>
          </a:xfrm>
        </p:spPr>
        <p:txBody>
          <a:bodyPr>
            <a:noAutofit/>
          </a:bodyPr>
          <a:lstStyle/>
          <a:p>
            <a:r>
              <a:rPr lang="de-DE" sz="1800" dirty="0" smtClean="0"/>
              <a:t>6</a:t>
            </a:r>
            <a:endParaRPr lang="de-DE" sz="1800" dirty="0"/>
          </a:p>
        </p:txBody>
      </p:sp>
      <p:sp>
        <p:nvSpPr>
          <p:cNvPr id="31" name="Titel 3"/>
          <p:cNvSpPr txBox="1">
            <a:spLocks/>
          </p:cNvSpPr>
          <p:nvPr/>
        </p:nvSpPr>
        <p:spPr>
          <a:xfrm>
            <a:off x="-36512" y="123478"/>
            <a:ext cx="9577064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>
                <a:solidFill>
                  <a:srgbClr val="AAC686"/>
                </a:solidFill>
              </a:rPr>
              <a:t>Konkrete Fragen</a:t>
            </a:r>
            <a:endParaRPr lang="de-DE" dirty="0">
              <a:solidFill>
                <a:srgbClr val="AAC686"/>
              </a:solidFill>
            </a:endParaRPr>
          </a:p>
        </p:txBody>
      </p:sp>
      <p:sp>
        <p:nvSpPr>
          <p:cNvPr id="69" name="Titel 5"/>
          <p:cNvSpPr txBox="1">
            <a:spLocks/>
          </p:cNvSpPr>
          <p:nvPr/>
        </p:nvSpPr>
        <p:spPr>
          <a:xfrm>
            <a:off x="362995" y="123478"/>
            <a:ext cx="8529485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/>
              <a:t>Organisatorisches</a:t>
            </a:r>
            <a:endParaRPr lang="de-DE" dirty="0"/>
          </a:p>
        </p:txBody>
      </p:sp>
      <p:graphicFrame>
        <p:nvGraphicFramePr>
          <p:cNvPr id="25" name="Wieviel viele Unterrichtsstunden pro Woche gibt es?"/>
          <p:cNvGraphicFramePr/>
          <p:nvPr>
            <p:extLst>
              <p:ext uri="{D42A27DB-BD31-4B8C-83A1-F6EECF244321}">
                <p14:modId xmlns:p14="http://schemas.microsoft.com/office/powerpoint/2010/main" val="2078468192"/>
              </p:ext>
            </p:extLst>
          </p:nvPr>
        </p:nvGraphicFramePr>
        <p:xfrm>
          <a:off x="3042000" y="1821600"/>
          <a:ext cx="2916000" cy="36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-180528" y="3749700"/>
            <a:ext cx="1964522" cy="486000"/>
            <a:chOff x="-180528" y="3744937"/>
            <a:chExt cx="1964522" cy="486000"/>
          </a:xfrm>
        </p:grpSpPr>
        <p:pic>
          <p:nvPicPr>
            <p:cNvPr id="118" name="Picture 7" descr="\\bbs-fs\ReichmMi$\Eigene Dateien\SIZ I\Gestaltung\CMYK\Hamburg_Bug_NEU_CMYK.png"/>
            <p:cNvPicPr>
              <a:picLocks noChangeArrowheads="1"/>
            </p:cNvPicPr>
            <p:nvPr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80528" y="3744937"/>
              <a:ext cx="1382400" cy="486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2" name="Picture 7" descr="\\bbs-fs\ReichmMi$\Eigene Dateien\SIZ I\Gestaltung\CMYK\Hamburg_Bug_NEU_CMYK.png"/>
            <p:cNvPicPr>
              <a:picLocks noChangeArrowheads="1"/>
            </p:cNvPicPr>
            <p:nvPr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01594" y="3744937"/>
              <a:ext cx="1382400" cy="486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9912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1200"/>
    </mc:Choice>
    <mc:Fallback xmlns="">
      <p:transition advClick="0" advTm="12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2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2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2" fill="hold" grpId="0" nodeType="withEffect">
                                  <p:stCondLst>
                                    <p:cond delay="1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anim calcmode="lin" valueType="num">
                                      <p:cBhvr additive="base">
                                        <p:cTn id="10" dur="2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2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200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200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xit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2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2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00"/>
                            </p:stCondLst>
                            <p:childTnLst>
                              <p:par>
                                <p:cTn id="22" presetID="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xit" presetSubtype="4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" presetClass="exit" presetSubtype="4" fill="hold" nodeType="withEffect">
                                  <p:stCondLst>
                                    <p:cond delay="2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2" presetClass="exit" presetSubtype="4" fill="hold" nodeType="withEffect">
                                  <p:stCondLst>
                                    <p:cond delay="3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2" presetClass="exit" presetSubtype="4" fill="hold" nodeType="withEffect">
                                  <p:stCondLst>
                                    <p:cond delay="4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2" presetClass="exit" presetSubtype="4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2" presetClass="exit" presetSubtype="4" fill="hold" nodeType="withEffect">
                                  <p:stCondLst>
                                    <p:cond delay="6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2" presetClass="exit" presetSubtype="4" fill="hold" nodeType="withEffect">
                                  <p:stCondLst>
                                    <p:cond delay="7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2" presetClass="exit" presetSubtype="4" fill="hold" nodeType="withEffect">
                                  <p:stCondLst>
                                    <p:cond delay="8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2" presetClass="exit" presetSubtype="4" fill="hold" nodeType="withEffect">
                                  <p:stCondLst>
                                    <p:cond delay="9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9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2" presetClass="exit" presetSubtype="4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3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2" presetClass="exit" presetSubtype="4" fill="hold" nodeType="withEffect">
                                  <p:stCondLst>
                                    <p:cond delay="11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7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1" dur="500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3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3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010"/>
                            </p:stCondLst>
                            <p:childTnLst>
                              <p:par>
                                <p:cTn id="79" presetID="1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010"/>
                            </p:stCondLst>
                            <p:childTnLst>
                              <p:par>
                                <p:cTn id="8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200" fill="hold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200" fill="hold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200" fill="hold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200" fill="hold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200" fill="hold"/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200" fill="hold"/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200" fill="hold"/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200" fill="hold"/>
                                        <p:tgtEl>
                                          <p:spTgt spid="2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200" fill="hold"/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200" fill="hold"/>
                                        <p:tgtEl>
                                          <p:spTgt spid="2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allAtOnce"/>
      <p:bldP spid="22" grpId="0" animBg="1"/>
      <p:bldP spid="17" grpId="0"/>
      <p:bldP spid="74" grpId="0" animBg="1"/>
      <p:bldP spid="31" grpId="0"/>
      <p:bldP spid="69" grpId="0"/>
      <p:bldGraphic spid="25" grpId="0">
        <p:bldAsOne/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platzhalter 6"/>
          <p:cNvSpPr>
            <a:spLocks noGrp="1"/>
          </p:cNvSpPr>
          <p:nvPr>
            <p:ph type="body" sz="quarter" idx="4294967295"/>
          </p:nvPr>
        </p:nvSpPr>
        <p:spPr>
          <a:xfrm>
            <a:off x="235124" y="505827"/>
            <a:ext cx="8785225" cy="3779496"/>
          </a:xfrm>
          <a:prstGeom prst="rect">
            <a:avLst/>
          </a:prstGeom>
        </p:spPr>
        <p:txBody>
          <a:bodyPr/>
          <a:lstStyle/>
          <a:p>
            <a:endParaRPr lang="de-DE" dirty="0" smtClean="0"/>
          </a:p>
          <a:p>
            <a:r>
              <a:rPr lang="de-DE" dirty="0" smtClean="0"/>
              <a:t>Termine </a:t>
            </a:r>
            <a:r>
              <a:rPr lang="de-DE" dirty="0"/>
              <a:t>der Marktplätze</a:t>
            </a:r>
            <a:r>
              <a:rPr lang="de-DE" dirty="0" smtClean="0"/>
              <a:t>: </a:t>
            </a:r>
            <a:r>
              <a:rPr lang="de-DE" b="0" dirty="0" smtClean="0"/>
              <a:t>www.hamburg.de/marktplaetze</a:t>
            </a:r>
            <a:endParaRPr lang="de-DE" b="0" dirty="0"/>
          </a:p>
          <a:p>
            <a:r>
              <a:rPr lang="de-DE" dirty="0"/>
              <a:t>Tage der offenen Tür in unserer Region</a:t>
            </a:r>
            <a:r>
              <a:rPr lang="de-DE" dirty="0" smtClean="0"/>
              <a:t>: </a:t>
            </a:r>
            <a:endParaRPr lang="de-DE" dirty="0"/>
          </a:p>
          <a:p>
            <a:pPr>
              <a:tabLst>
                <a:tab pos="1790700" algn="l"/>
              </a:tabLst>
            </a:pPr>
            <a:r>
              <a:rPr lang="de-DE" dirty="0" smtClean="0"/>
              <a:t>Anmeldezeitraum:		</a:t>
            </a:r>
            <a:r>
              <a:rPr lang="de-DE" b="0" dirty="0" smtClean="0"/>
              <a:t>31. Januar  – 4. Februar 2022</a:t>
            </a:r>
            <a:endParaRPr lang="de-DE" b="0" dirty="0"/>
          </a:p>
          <a:p>
            <a:pPr marL="1790700" indent="-1790700"/>
            <a:r>
              <a:rPr lang="de-DE" dirty="0" smtClean="0"/>
              <a:t>Formalitäten: 		</a:t>
            </a:r>
            <a:r>
              <a:rPr lang="de-DE" b="0" dirty="0" smtClean="0"/>
              <a:t>Anmeldeformular gemeinsam mit der Einschätzung zur weiteren 	Schullaufbahn und dem Zeugnis Ihres Kindes</a:t>
            </a:r>
          </a:p>
          <a:p>
            <a:r>
              <a:rPr lang="de-DE" dirty="0" smtClean="0"/>
              <a:t>Kriterien für die Vergabe der Schulplätze:</a:t>
            </a:r>
          </a:p>
          <a:p>
            <a:pPr marL="2066925" lvl="5" indent="-268288"/>
            <a:r>
              <a:rPr lang="de-DE" sz="1600" dirty="0">
                <a:solidFill>
                  <a:schemeClr val="accent1"/>
                </a:solidFill>
              </a:rPr>
              <a:t>SuS mit speziellen Förderbedarfen</a:t>
            </a:r>
          </a:p>
          <a:p>
            <a:pPr marL="2066925" lvl="5" indent="-268288"/>
            <a:r>
              <a:rPr lang="de-DE" sz="1600" dirty="0">
                <a:solidFill>
                  <a:schemeClr val="accent1"/>
                </a:solidFill>
              </a:rPr>
              <a:t>Geschwisterkinder</a:t>
            </a:r>
          </a:p>
          <a:p>
            <a:pPr marL="2066925" lvl="5" indent="-268288"/>
            <a:r>
              <a:rPr lang="de-DE" sz="1600" dirty="0">
                <a:solidFill>
                  <a:schemeClr val="accent1"/>
                </a:solidFill>
              </a:rPr>
              <a:t>Schulweglänge</a:t>
            </a:r>
          </a:p>
          <a:p>
            <a:endParaRPr lang="de-DE" dirty="0"/>
          </a:p>
        </p:txBody>
      </p:sp>
      <p:sp>
        <p:nvSpPr>
          <p:cNvPr id="69" name="Titel 5"/>
          <p:cNvSpPr txBox="1">
            <a:spLocks/>
          </p:cNvSpPr>
          <p:nvPr/>
        </p:nvSpPr>
        <p:spPr>
          <a:xfrm>
            <a:off x="362995" y="123478"/>
            <a:ext cx="8529485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/>
              <a:t>Organisatorisch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33201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6" descr="\\bbs-fs\ReichmMi$\Eigene Dateien\My Pictures\colourbox\COLOURBOX4314741bearb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" t="2318" r="-8" b="10008"/>
          <a:stretch/>
        </p:blipFill>
        <p:spPr bwMode="auto">
          <a:xfrm>
            <a:off x="2252" y="-1"/>
            <a:ext cx="9144001" cy="4001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platzhalter 5"/>
          <p:cNvSpPr txBox="1">
            <a:spLocks/>
          </p:cNvSpPr>
          <p:nvPr/>
        </p:nvSpPr>
        <p:spPr>
          <a:xfrm>
            <a:off x="1988677" y="4290998"/>
            <a:ext cx="5044293" cy="360000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600" b="1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 dirty="0" smtClean="0">
                <a:latin typeface="+mj-lt"/>
              </a:rPr>
              <a:t>VERSCHIEDENE WEGE ZUM ERFOLG</a:t>
            </a:r>
            <a:endParaRPr lang="de-DE" sz="2000" b="0" dirty="0">
              <a:latin typeface="+mj-lt"/>
            </a:endParaRPr>
          </a:p>
        </p:txBody>
      </p:sp>
      <p:sp>
        <p:nvSpPr>
          <p:cNvPr id="31" name="Rectangle 17"/>
          <p:cNvSpPr txBox="1">
            <a:spLocks noChangeArrowheads="1"/>
          </p:cNvSpPr>
          <p:nvPr/>
        </p:nvSpPr>
        <p:spPr bwMode="auto">
          <a:xfrm>
            <a:off x="78453" y="4921515"/>
            <a:ext cx="2156747" cy="221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7488" indent="-215900" algn="l" rtl="0" eaLnBrk="1" fontAlgn="base" hangingPunct="1">
              <a:lnSpc>
                <a:spcPts val="19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●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34975" indent="-215900" algn="l" rtl="0" eaLnBrk="1" fontAlgn="base" hangingPunct="1">
              <a:lnSpc>
                <a:spcPts val="19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●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69925" indent="-233363" algn="l" rtl="0" eaLnBrk="1" fontAlgn="base" hangingPunct="1">
              <a:lnSpc>
                <a:spcPts val="19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●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914400" indent="-242888" algn="l" rtl="0" eaLnBrk="1" fontAlgn="base" hangingPunct="1">
              <a:lnSpc>
                <a:spcPts val="19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●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371600" indent="-242888" algn="l" rtl="0" eaLnBrk="1" fontAlgn="base" hangingPunct="1">
              <a:lnSpc>
                <a:spcPts val="19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●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828800" indent="-242888" algn="l" rtl="0" eaLnBrk="1" fontAlgn="base" hangingPunct="1">
              <a:lnSpc>
                <a:spcPts val="19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●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86000" indent="-242888" algn="l" rtl="0" eaLnBrk="1" fontAlgn="base" hangingPunct="1">
              <a:lnSpc>
                <a:spcPts val="19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●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743200" indent="-242888" algn="l" rtl="0" eaLnBrk="1" fontAlgn="base" hangingPunct="1">
              <a:lnSpc>
                <a:spcPts val="19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●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25000"/>
              </a:lnSpc>
              <a:spcBef>
                <a:spcPct val="0"/>
              </a:spcBef>
            </a:pPr>
            <a:r>
              <a:rPr lang="de-DE" altLang="de-DE" sz="1000" b="0" kern="0" dirty="0" smtClean="0">
                <a:solidFill>
                  <a:schemeClr val="bg1"/>
                </a:solidFill>
              </a:rPr>
              <a:t>Bildquellen: Thun; www.colourbox.de</a:t>
            </a:r>
            <a:endParaRPr lang="de-DE" altLang="de-DE" kern="0" dirty="0" smtClean="0"/>
          </a:p>
        </p:txBody>
      </p:sp>
      <p:sp>
        <p:nvSpPr>
          <p:cNvPr id="32" name="Titel 1"/>
          <p:cNvSpPr txBox="1">
            <a:spLocks/>
          </p:cNvSpPr>
          <p:nvPr/>
        </p:nvSpPr>
        <p:spPr>
          <a:xfrm>
            <a:off x="1937730" y="3821114"/>
            <a:ext cx="4868333" cy="360000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dirty="0" smtClean="0">
                <a:solidFill>
                  <a:srgbClr val="CC3300"/>
                </a:solidFill>
              </a:rPr>
              <a:t>Verschiedene Persönlichkeiten</a:t>
            </a:r>
            <a:endParaRPr lang="de-DE" sz="2000" b="1" dirty="0">
              <a:solidFill>
                <a:srgbClr val="CC3300"/>
              </a:solidFill>
            </a:endParaRPr>
          </a:p>
        </p:txBody>
      </p:sp>
      <p:pic>
        <p:nvPicPr>
          <p:cNvPr id="33" name="Picture 7" descr="\\bbs-fs\ReichmMi$\Eigene Dateien\SIZ I\Gestaltung\CMYK\Hamburg_Bug_NEU_CMYK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1274" y="3744937"/>
            <a:ext cx="1404000" cy="486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7" descr="\\bbs-fs\ReichmMi$\Eigene Dateien\SIZ I\Gestaltung\CMYK\Hamburg_Bug_NEU_CMYK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2102" y="3744937"/>
            <a:ext cx="1406617" cy="4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875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73324" y="135827"/>
            <a:ext cx="5045532" cy="3889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hteck 5"/>
          <p:cNvSpPr/>
          <p:nvPr/>
        </p:nvSpPr>
        <p:spPr>
          <a:xfrm>
            <a:off x="3986213" y="2876550"/>
            <a:ext cx="1447800" cy="700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smtClean="0"/>
          </a:p>
        </p:txBody>
      </p:sp>
      <p:sp>
        <p:nvSpPr>
          <p:cNvPr id="24" name="Textplatzhalter 15"/>
          <p:cNvSpPr txBox="1">
            <a:spLocks/>
          </p:cNvSpPr>
          <p:nvPr/>
        </p:nvSpPr>
        <p:spPr bwMode="gray">
          <a:xfrm>
            <a:off x="2447792" y="900306"/>
            <a:ext cx="6438102" cy="246221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b="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o steht Ihr Kind </a:t>
            </a:r>
            <a:r>
              <a:rPr lang="de-DE" dirty="0" smtClean="0"/>
              <a:t>jetzt</a:t>
            </a:r>
            <a:r>
              <a:rPr lang="de-DE" dirty="0"/>
              <a:t>?</a:t>
            </a:r>
          </a:p>
        </p:txBody>
      </p:sp>
      <p:sp>
        <p:nvSpPr>
          <p:cNvPr id="10" name="Textplatzhalter 9" hidden="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sz="1800" dirty="0"/>
              <a:t>2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sz="1800" dirty="0"/>
              <a:t>3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sz="1800" dirty="0"/>
              <a:t>4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sz="1800" dirty="0"/>
              <a:t>5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sz="1800" dirty="0"/>
              <a:t>6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 smtClean="0"/>
              <a:t>Der Übergang in Zahlen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 smtClean="0"/>
              <a:t>Unterricht </a:t>
            </a:r>
            <a:r>
              <a:rPr lang="de-DE" dirty="0"/>
              <a:t>und Lernen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 smtClean="0"/>
              <a:t>Die Schulformen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 smtClean="0"/>
              <a:t>… und </a:t>
            </a:r>
            <a:r>
              <a:rPr lang="de-DE" dirty="0"/>
              <a:t>nach der Schule?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de-DE" dirty="0"/>
              <a:t>Ihre Rolle als </a:t>
            </a:r>
            <a:r>
              <a:rPr lang="de-DE" dirty="0" smtClean="0"/>
              <a:t>Eltern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6676845" y="422694"/>
            <a:ext cx="19236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 smtClean="0"/>
              <a:t>      </a:t>
            </a:r>
          </a:p>
        </p:txBody>
      </p:sp>
      <p:sp>
        <p:nvSpPr>
          <p:cNvPr id="34" name="1 groß" hidden="1"/>
          <p:cNvSpPr txBox="1">
            <a:spLocks/>
          </p:cNvSpPr>
          <p:nvPr/>
        </p:nvSpPr>
        <p:spPr bwMode="gray">
          <a:xfrm>
            <a:off x="671053" y="-746843"/>
            <a:ext cx="2981718" cy="2981718"/>
          </a:xfrm>
          <a:prstGeom prst="ellipse">
            <a:avLst/>
          </a:prstGeom>
          <a:solidFill>
            <a:schemeClr val="accent6"/>
          </a:solidFill>
        </p:spPr>
        <p:txBody>
          <a:bodyPr vert="horz" wrap="none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b="1" kern="120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600" dirty="0" smtClean="0"/>
              <a:t>1</a:t>
            </a:r>
            <a:endParaRPr lang="de-DE" sz="166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8225" y="2176463"/>
            <a:ext cx="4810125" cy="2076450"/>
          </a:xfrm>
          <a:prstGeom prst="rect">
            <a:avLst/>
          </a:prstGeom>
        </p:spPr>
      </p:pic>
      <p:sp>
        <p:nvSpPr>
          <p:cNvPr id="29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74966" y="837749"/>
            <a:ext cx="360000" cy="360000"/>
          </a:xfrm>
        </p:spPr>
        <p:txBody>
          <a:bodyPr/>
          <a:lstStyle/>
          <a:p>
            <a:r>
              <a:rPr lang="de-DE" sz="1800" dirty="0" smtClean="0"/>
              <a:t>1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228488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10" fill="hold"/>
                                        <p:tgtEl>
                                          <p:spTgt spid="34"/>
                                        </p:tgtEl>
                                      </p:cBhvr>
                                      <p:by x="12080" y="1208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4.5679E-6 L 1.94444E-6 0.67222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611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3.20161E-6 L 0.56389 0.31954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94" y="15962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46914E-7 L 0.56649 0.32037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316" y="16019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4.5679E-6 L 1.94444E-6 0.67222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3611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6" presetClass="emph" presetSubtype="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animScale>
                                      <p:cBhvr>
                                        <p:cTn id="77" dur="600" fill="hold"/>
                                        <p:tgtEl>
                                          <p:spTgt spid="4"/>
                                        </p:tgtEl>
                                      </p:cBhvr>
                                      <p:by x="30000" y="30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grpId="1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grpId="1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6" presetClass="emph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1" dur="18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  <p:by x="800000" y="800000"/>
                                    </p:animScale>
                                  </p:childTnLst>
                                </p:cTn>
                              </p:par>
                              <p:par>
                                <p:cTn id="92" presetID="6" presetClass="emph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3" dur="18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800000" y="800000"/>
                                    </p:animScale>
                                  </p:childTnLst>
                                </p:cTn>
                              </p:par>
                              <p:par>
                                <p:cTn id="94" presetID="10" presetClass="exit" presetSubtype="0" fill="hold" grpId="5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0" presetClass="exit" presetSubtype="0" fill="hold" grpId="5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3.08642E-6 L 0.56788 0.3642 " pathEditMode="relative" rAng="0" ptsTypes="AA">
                                      <p:cBhvr>
                                        <p:cTn id="101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385" y="18210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6" presetClass="emph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3" dur="2000" fill="hold"/>
                                        <p:tgtEl>
                                          <p:spTgt spid="34"/>
                                        </p:tgtEl>
                                      </p:cBhvr>
                                      <p:by x="800000" y="800000"/>
                                    </p:animScale>
                                  </p:childTnLst>
                                </p:cTn>
                              </p:par>
                              <p:par>
                                <p:cTn id="104" presetID="10" presetClass="exit" presetSubtype="0" fill="hold" grpId="5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24" grpId="0"/>
      <p:bldP spid="24" grpId="1"/>
      <p:bldP spid="10" grpId="1" build="p" animBg="1"/>
      <p:bldP spid="10" grpId="3" uiExpand="1" build="p" animBg="1"/>
      <p:bldP spid="10" grpId="4" build="p" animBg="1"/>
      <p:bldP spid="10" grpId="5" build="p" animBg="1"/>
      <p:bldP spid="9" grpId="0" build="p"/>
      <p:bldP spid="11" grpId="0" build="p" animBg="1"/>
      <p:bldP spid="12" grpId="0" build="p" animBg="1"/>
      <p:bldP spid="13" grpId="0" build="p" animBg="1"/>
      <p:bldP spid="14" grpId="0" build="p" animBg="1"/>
      <p:bldP spid="15" grpId="0" build="p" animBg="1"/>
      <p:bldP spid="17" grpId="0" build="p"/>
      <p:bldP spid="18" grpId="0" build="p"/>
      <p:bldP spid="19" grpId="0" build="p"/>
      <p:bldP spid="20" grpId="0" build="p"/>
      <p:bldP spid="21" grpId="0" build="p"/>
      <p:bldP spid="34" grpId="0" animBg="1"/>
      <p:bldP spid="34" grpId="1" animBg="1"/>
      <p:bldP spid="34" grpId="2" animBg="1"/>
      <p:bldP spid="34" grpId="3" animBg="1"/>
      <p:bldP spid="34" grpId="4" animBg="1"/>
      <p:bldP spid="34" grpId="5" animBg="1"/>
      <p:bldP spid="2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>
          <a:xfrm>
            <a:off x="4716000" y="2916000"/>
            <a:ext cx="17977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rund </a:t>
            </a:r>
            <a:r>
              <a:rPr lang="de-DE" b="1" dirty="0" smtClean="0"/>
              <a:t>8.060</a:t>
            </a:r>
            <a:r>
              <a:rPr lang="de-DE" dirty="0" smtClean="0"/>
              <a:t> auf </a:t>
            </a:r>
            <a:r>
              <a:rPr lang="de-DE" dirty="0"/>
              <a:t>ein </a:t>
            </a:r>
            <a:r>
              <a:rPr lang="de-DE" dirty="0" smtClean="0"/>
              <a:t>Gymnasium</a:t>
            </a:r>
            <a:endParaRPr lang="de-DE" dirty="0"/>
          </a:p>
        </p:txBody>
      </p:sp>
      <p:sp>
        <p:nvSpPr>
          <p:cNvPr id="41" name="Rechteck 40"/>
          <p:cNvSpPr/>
          <p:nvPr/>
        </p:nvSpPr>
        <p:spPr>
          <a:xfrm>
            <a:off x="5232857" y="2915355"/>
            <a:ext cx="7617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/>
              <a:t>8.060</a:t>
            </a:r>
            <a:endParaRPr lang="de-DE" dirty="0"/>
          </a:p>
        </p:txBody>
      </p:sp>
      <p:sp>
        <p:nvSpPr>
          <p:cNvPr id="29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74966" y="4295324"/>
            <a:ext cx="360000" cy="360000"/>
          </a:xfrm>
        </p:spPr>
        <p:txBody>
          <a:bodyPr/>
          <a:lstStyle/>
          <a:p>
            <a:r>
              <a:rPr lang="de-DE" sz="1800" dirty="0" smtClean="0"/>
              <a:t>1</a:t>
            </a:r>
            <a:endParaRPr lang="de-DE" sz="1800" dirty="0"/>
          </a:p>
        </p:txBody>
      </p:sp>
      <p:sp>
        <p:nvSpPr>
          <p:cNvPr id="39" name="Rechteck 38"/>
          <p:cNvSpPr/>
          <p:nvPr/>
        </p:nvSpPr>
        <p:spPr>
          <a:xfrm>
            <a:off x="2124000" y="2916000"/>
            <a:ext cx="242887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r</a:t>
            </a:r>
            <a:r>
              <a:rPr lang="de-DE" dirty="0" smtClean="0"/>
              <a:t>und </a:t>
            </a:r>
            <a:r>
              <a:rPr lang="de-DE" b="1" dirty="0" smtClean="0"/>
              <a:t>7.840</a:t>
            </a:r>
            <a:r>
              <a:rPr lang="de-DE" dirty="0" smtClean="0"/>
              <a:t> davon </a:t>
            </a:r>
            <a:r>
              <a:rPr lang="de-DE" dirty="0"/>
              <a:t>auf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eine Stadtteilschule </a:t>
            </a:r>
            <a:endParaRPr lang="de-DE" dirty="0"/>
          </a:p>
        </p:txBody>
      </p:sp>
      <p:sp>
        <p:nvSpPr>
          <p:cNvPr id="40" name="Rechteck 39"/>
          <p:cNvSpPr/>
          <p:nvPr/>
        </p:nvSpPr>
        <p:spPr>
          <a:xfrm>
            <a:off x="2340000" y="396000"/>
            <a:ext cx="438583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Zum Schuljahr </a:t>
            </a:r>
            <a:r>
              <a:rPr lang="de-DE" dirty="0" smtClean="0"/>
              <a:t>2020/21 </a:t>
            </a:r>
            <a:r>
              <a:rPr lang="de-DE" dirty="0"/>
              <a:t>wechselten insgesamt rund </a:t>
            </a:r>
            <a:r>
              <a:rPr lang="de-DE" b="1" dirty="0" smtClean="0"/>
              <a:t>16.550</a:t>
            </a:r>
            <a:r>
              <a:rPr lang="de-DE" dirty="0" smtClean="0"/>
              <a:t> </a:t>
            </a:r>
            <a:r>
              <a:rPr lang="de-DE" dirty="0"/>
              <a:t>Schülerinnen und Schüler auf eine weiterführende Schule.</a:t>
            </a:r>
          </a:p>
        </p:txBody>
      </p:sp>
      <p:sp>
        <p:nvSpPr>
          <p:cNvPr id="33" name="Rechteck 32"/>
          <p:cNvSpPr/>
          <p:nvPr/>
        </p:nvSpPr>
        <p:spPr>
          <a:xfrm>
            <a:off x="2644451" y="2915355"/>
            <a:ext cx="7617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smtClean="0"/>
              <a:t>7.840</a:t>
            </a:r>
            <a:endParaRPr lang="de-DE" dirty="0"/>
          </a:p>
        </p:txBody>
      </p:sp>
      <p:sp>
        <p:nvSpPr>
          <p:cNvPr id="24" name="Textplatzhalter 15"/>
          <p:cNvSpPr txBox="1">
            <a:spLocks/>
          </p:cNvSpPr>
          <p:nvPr/>
        </p:nvSpPr>
        <p:spPr bwMode="gray">
          <a:xfrm>
            <a:off x="2447792" y="4357881"/>
            <a:ext cx="6438102" cy="246221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b="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Wo steht Ihr Kind </a:t>
            </a:r>
            <a:r>
              <a:rPr lang="de-DE" dirty="0" smtClean="0">
                <a:solidFill>
                  <a:schemeClr val="bg1"/>
                </a:solidFill>
              </a:rPr>
              <a:t>jetzt</a:t>
            </a:r>
            <a:r>
              <a:rPr lang="de-DE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79712" y="4295257"/>
            <a:ext cx="360000" cy="360000"/>
          </a:xfrm>
        </p:spPr>
        <p:txBody>
          <a:bodyPr/>
          <a:lstStyle/>
          <a:p>
            <a:r>
              <a:rPr lang="de-DE" sz="1800" dirty="0"/>
              <a:t>2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47764" y="4352147"/>
            <a:ext cx="6438102" cy="246221"/>
          </a:xfrm>
        </p:spPr>
        <p:txBody>
          <a:bodyPr/>
          <a:lstStyle/>
          <a:p>
            <a:r>
              <a:rPr lang="de-DE" dirty="0" smtClean="0"/>
              <a:t>Der Übergang in Zahlen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6867094" y="1432791"/>
            <a:ext cx="20188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mtClean="0"/>
              <a:t>rund</a:t>
            </a:r>
            <a:r>
              <a:rPr lang="de-DE" b="1" smtClean="0"/>
              <a:t> 230</a:t>
            </a:r>
            <a:r>
              <a:rPr lang="de-DE" smtClean="0"/>
              <a:t> in die fünften Klassen der sechsjährigen Grundschulen</a:t>
            </a:r>
            <a:endParaRPr lang="de-DE" dirty="0"/>
          </a:p>
        </p:txBody>
      </p:sp>
      <p:pic>
        <p:nvPicPr>
          <p:cNvPr id="37" name="Grafik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195" y="1032211"/>
            <a:ext cx="2413636" cy="1499957"/>
          </a:xfrm>
          <a:prstGeom prst="rect">
            <a:avLst/>
          </a:prstGeom>
        </p:spPr>
      </p:pic>
      <p:pic>
        <p:nvPicPr>
          <p:cNvPr id="38" name="Grafik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529" y="1432791"/>
            <a:ext cx="2410985" cy="1080000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136166" y="1448826"/>
            <a:ext cx="20188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u</a:t>
            </a:r>
            <a:r>
              <a:rPr lang="de-DE" dirty="0" smtClean="0"/>
              <a:t>nd </a:t>
            </a:r>
            <a:r>
              <a:rPr lang="de-DE" b="1" dirty="0" smtClean="0"/>
              <a:t>417</a:t>
            </a:r>
            <a:r>
              <a:rPr lang="de-DE" dirty="0" smtClean="0"/>
              <a:t> </a:t>
            </a:r>
            <a:r>
              <a:rPr lang="de-DE" dirty="0"/>
              <a:t>in eine Bildungsabteilung der ReBBZ oder Sonderschule</a:t>
            </a:r>
          </a:p>
        </p:txBody>
      </p:sp>
    </p:spTree>
    <p:extLst>
      <p:ext uri="{BB962C8B-B14F-4D97-AF65-F5344CB8AC3E}">
        <p14:creationId xmlns:p14="http://schemas.microsoft.com/office/powerpoint/2010/main" val="284401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1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1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1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ntr" presetSubtype="1" accel="75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" presetClass="emph" presetSubtype="2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3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9" presetID="2" presetClass="entr" presetSubtype="1" accel="75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3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3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2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3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3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1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Abs val="2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1"/>
                            </p:stCondLst>
                            <p:childTnLst>
                              <p:par>
                                <p:cTn id="3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39 -0.00247 L 0.00139 -0.18597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1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01"/>
                            </p:stCondLst>
                            <p:childTnLst>
                              <p:par>
                                <p:cTn id="44" presetID="10" presetClass="exit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Abs val="2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801"/>
                            </p:stCondLst>
                            <p:childTnLst>
                              <p:par>
                                <p:cTn id="5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42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39 -4.27865E-6 L 0.00139 -0.18381 " pathEditMode="relative" rAng="0" ptsTypes="AA">
                                      <p:cBhvr>
                                        <p:cTn id="55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20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801"/>
                            </p:stCondLst>
                            <p:childTnLst>
                              <p:par>
                                <p:cTn id="57" presetID="10" presetClass="exit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Abs val="20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Abs val="200"/>
                                  </p:iterate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41" grpId="0"/>
      <p:bldP spid="41" grpId="2"/>
      <p:bldP spid="41" grpId="3"/>
      <p:bldP spid="29" grpId="0" animBg="1"/>
      <p:bldP spid="39" grpId="0"/>
      <p:bldP spid="40" grpId="0"/>
      <p:bldP spid="33" grpId="0"/>
      <p:bldP spid="33" grpId="2"/>
      <p:bldP spid="33" grpId="3"/>
      <p:bldP spid="24" grpId="0" build="allAtOnce"/>
      <p:bldP spid="11" grpId="0" animBg="1"/>
      <p:bldP spid="17" grpId="0" build="p"/>
      <p:bldP spid="17" grpId="1" build="p"/>
      <p:bldP spid="35" grpId="0" build="p"/>
      <p:bldP spid="15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4970081" y="1907024"/>
            <a:ext cx="5693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 smtClean="0"/>
              <a:t>800</a:t>
            </a:r>
            <a:endParaRPr lang="de-DE" dirty="0"/>
          </a:p>
        </p:txBody>
      </p:sp>
      <p:pic>
        <p:nvPicPr>
          <p:cNvPr id="37" name="Grafik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195" y="1032211"/>
            <a:ext cx="2413636" cy="1499957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79712" y="4295257"/>
            <a:ext cx="360000" cy="360000"/>
          </a:xfrm>
        </p:spPr>
        <p:txBody>
          <a:bodyPr/>
          <a:lstStyle/>
          <a:p>
            <a:r>
              <a:rPr lang="de-DE" sz="1800" dirty="0"/>
              <a:t>2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47764" y="4352147"/>
            <a:ext cx="6438102" cy="246221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Der Übergang in Zahlen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8" name="Grafik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529" y="1432791"/>
            <a:ext cx="2410985" cy="1080000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999753" y="587125"/>
            <a:ext cx="64506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Nach </a:t>
            </a:r>
            <a:r>
              <a:rPr lang="de-DE" dirty="0" smtClean="0"/>
              <a:t>der sechsten Klasse </a:t>
            </a:r>
            <a:r>
              <a:rPr lang="de-DE" b="1" dirty="0" smtClean="0"/>
              <a:t>müssen</a:t>
            </a:r>
            <a:r>
              <a:rPr lang="de-DE" dirty="0" smtClean="0"/>
              <a:t> jedes </a:t>
            </a:r>
            <a:r>
              <a:rPr lang="de-DE" dirty="0"/>
              <a:t>Jahr </a:t>
            </a:r>
            <a:r>
              <a:rPr lang="de-DE" dirty="0" smtClean="0"/>
              <a:t>im Schnitt Schülerinnen </a:t>
            </a:r>
            <a:r>
              <a:rPr lang="de-DE" dirty="0"/>
              <a:t>und </a:t>
            </a:r>
            <a:r>
              <a:rPr lang="de-DE" dirty="0" smtClean="0"/>
              <a:t>Schüler das </a:t>
            </a:r>
            <a:r>
              <a:rPr lang="de-DE" dirty="0"/>
              <a:t>Gymnasium wieder </a:t>
            </a:r>
            <a:r>
              <a:rPr lang="de-DE" dirty="0" smtClean="0"/>
              <a:t>verlassen.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6867115" y="1432791"/>
            <a:ext cx="200359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/>
              <a:t>rund</a:t>
            </a:r>
            <a:r>
              <a:rPr lang="de-DE" b="1" dirty="0" smtClean="0"/>
              <a:t> 230</a:t>
            </a:r>
            <a:r>
              <a:rPr lang="de-DE" dirty="0" smtClean="0"/>
              <a:t> in </a:t>
            </a:r>
            <a:r>
              <a:rPr lang="de-DE" dirty="0"/>
              <a:t>die fünften Klassen der </a:t>
            </a:r>
            <a:r>
              <a:rPr lang="de-DE" dirty="0" smtClean="0"/>
              <a:t>sechsjährigen Grundschulen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2340000" y="396000"/>
            <a:ext cx="438583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Zum Schuljahr </a:t>
            </a:r>
            <a:r>
              <a:rPr lang="de-DE" dirty="0" smtClean="0"/>
              <a:t>2020/21 </a:t>
            </a:r>
            <a:r>
              <a:rPr lang="de-DE" dirty="0"/>
              <a:t>wechselten insgesamt rund </a:t>
            </a:r>
            <a:r>
              <a:rPr lang="de-DE" b="1" dirty="0" smtClean="0"/>
              <a:t>16.550</a:t>
            </a:r>
            <a:r>
              <a:rPr lang="de-DE" dirty="0" smtClean="0"/>
              <a:t> </a:t>
            </a:r>
            <a:r>
              <a:rPr lang="de-DE" dirty="0"/>
              <a:t>Schülerinnen und Schüler auf eine weiterführende Schule.</a:t>
            </a:r>
          </a:p>
        </p:txBody>
      </p:sp>
      <p:sp>
        <p:nvSpPr>
          <p:cNvPr id="15" name="Rechteck 14"/>
          <p:cNvSpPr/>
          <p:nvPr/>
        </p:nvSpPr>
        <p:spPr>
          <a:xfrm>
            <a:off x="2121911" y="2916225"/>
            <a:ext cx="267175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r</a:t>
            </a:r>
            <a:r>
              <a:rPr lang="de-DE" dirty="0" smtClean="0"/>
              <a:t>und </a:t>
            </a:r>
            <a:r>
              <a:rPr lang="de-DE" b="1" dirty="0" smtClean="0"/>
              <a:t>7.840</a:t>
            </a:r>
            <a:r>
              <a:rPr lang="de-DE" dirty="0" smtClean="0"/>
              <a:t> davon </a:t>
            </a:r>
            <a:r>
              <a:rPr lang="de-DE" dirty="0"/>
              <a:t>auf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eine Stadtteilschule </a:t>
            </a:r>
            <a:endParaRPr lang="de-DE" dirty="0"/>
          </a:p>
        </p:txBody>
      </p:sp>
      <p:sp>
        <p:nvSpPr>
          <p:cNvPr id="16" name="Rechteck 15"/>
          <p:cNvSpPr/>
          <p:nvPr/>
        </p:nvSpPr>
        <p:spPr>
          <a:xfrm>
            <a:off x="4716016" y="2916599"/>
            <a:ext cx="17977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rund </a:t>
            </a:r>
            <a:r>
              <a:rPr lang="de-DE" b="1" dirty="0" smtClean="0"/>
              <a:t>8.060</a:t>
            </a:r>
            <a:r>
              <a:rPr lang="de-DE" dirty="0" smtClean="0"/>
              <a:t> auf </a:t>
            </a:r>
            <a:r>
              <a:rPr lang="de-DE" dirty="0"/>
              <a:t>ein </a:t>
            </a:r>
            <a:r>
              <a:rPr lang="de-DE" dirty="0" smtClean="0"/>
              <a:t>Gymnasium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136166" y="1448826"/>
            <a:ext cx="20188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u</a:t>
            </a:r>
            <a:r>
              <a:rPr lang="de-DE" dirty="0" smtClean="0"/>
              <a:t>nd </a:t>
            </a:r>
            <a:r>
              <a:rPr lang="de-DE" b="1" dirty="0" smtClean="0"/>
              <a:t>417</a:t>
            </a:r>
            <a:r>
              <a:rPr lang="de-DE" dirty="0" smtClean="0"/>
              <a:t> </a:t>
            </a:r>
            <a:r>
              <a:rPr lang="de-DE" dirty="0"/>
              <a:t>in eine Bildungsabteilung der ReBBZ oder Sonderschule</a:t>
            </a:r>
          </a:p>
        </p:txBody>
      </p:sp>
    </p:spTree>
    <p:extLst>
      <p:ext uri="{BB962C8B-B14F-4D97-AF65-F5344CB8AC3E}">
        <p14:creationId xmlns:p14="http://schemas.microsoft.com/office/powerpoint/2010/main" val="2231084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2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2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"/>
                            </p:stCondLst>
                            <p:childTnLst>
                              <p:par>
                                <p:cTn id="10" presetID="2" presetClass="exit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1" dur="2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5" dur="2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400"/>
                            </p:stCondLst>
                            <p:childTnLst>
                              <p:par>
                                <p:cTn id="19" presetID="2" presetClass="exit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0" dur="2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2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2" presetClass="exit" presetSubtype="2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4" dur="2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2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7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Motion origin="layout" path="M -0.00555 -0.00802 L 0.2033 -0.2571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434" y="-124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901"/>
                            </p:stCondLst>
                            <p:childTnLst>
                              <p:par>
                                <p:cTn id="33" presetID="18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3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textDecorationUnderline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14" grpId="0"/>
      <p:bldP spid="10" grpId="0"/>
      <p:bldP spid="12" grpId="0"/>
      <p:bldP spid="15" grpId="0"/>
      <p:bldP spid="16" grpId="0"/>
      <p:bldP spid="1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79712" y="4295257"/>
            <a:ext cx="360000" cy="360000"/>
          </a:xfrm>
        </p:spPr>
        <p:txBody>
          <a:bodyPr/>
          <a:lstStyle/>
          <a:p>
            <a:r>
              <a:rPr lang="de-DE" sz="1800" dirty="0"/>
              <a:t>2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47764" y="4352147"/>
            <a:ext cx="6438102" cy="246221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Der Übergang in Zahlen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7" name="Grafik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195" y="1032211"/>
            <a:ext cx="2413636" cy="1499957"/>
          </a:xfrm>
          <a:prstGeom prst="rect">
            <a:avLst/>
          </a:prstGeom>
        </p:spPr>
      </p:pic>
      <p:pic>
        <p:nvPicPr>
          <p:cNvPr id="38" name="Grafik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529" y="1432791"/>
            <a:ext cx="2410985" cy="1080000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999753" y="587125"/>
            <a:ext cx="70286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Nach </a:t>
            </a:r>
            <a:r>
              <a:rPr lang="de-DE" dirty="0" smtClean="0"/>
              <a:t>der sechsten Klasse </a:t>
            </a:r>
            <a:r>
              <a:rPr lang="de-DE" b="1" dirty="0" smtClean="0"/>
              <a:t>müssen</a:t>
            </a:r>
            <a:r>
              <a:rPr lang="de-DE" dirty="0" smtClean="0"/>
              <a:t> jedes </a:t>
            </a:r>
            <a:r>
              <a:rPr lang="de-DE" dirty="0"/>
              <a:t>Jahr </a:t>
            </a:r>
            <a:r>
              <a:rPr lang="de-DE" dirty="0" smtClean="0"/>
              <a:t>im Schnitt </a:t>
            </a:r>
            <a:r>
              <a:rPr lang="de-DE" b="1" u="sng" dirty="0" smtClean="0"/>
              <a:t>800 </a:t>
            </a:r>
            <a:r>
              <a:rPr lang="de-DE" dirty="0" smtClean="0"/>
              <a:t>Schülerinnen </a:t>
            </a:r>
            <a:r>
              <a:rPr lang="de-DE" dirty="0"/>
              <a:t>und </a:t>
            </a:r>
            <a:r>
              <a:rPr lang="de-DE" dirty="0" smtClean="0"/>
              <a:t>Schüler das </a:t>
            </a:r>
            <a:r>
              <a:rPr lang="de-DE" dirty="0"/>
              <a:t>Gymnasium wieder </a:t>
            </a:r>
            <a:r>
              <a:rPr lang="de-DE" dirty="0" smtClean="0"/>
              <a:t>verlassen.</a:t>
            </a: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1965141" y="583294"/>
            <a:ext cx="51271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Im Jahr </a:t>
            </a:r>
            <a:r>
              <a:rPr lang="de-DE" dirty="0" smtClean="0"/>
              <a:t>2020 </a:t>
            </a:r>
            <a:r>
              <a:rPr lang="de-DE" dirty="0"/>
              <a:t>erreichten in Hamburg </a:t>
            </a:r>
            <a:r>
              <a:rPr lang="de-DE" b="1" dirty="0" smtClean="0"/>
              <a:t>8.661</a:t>
            </a:r>
            <a:r>
              <a:rPr lang="de-DE" dirty="0" smtClean="0"/>
              <a:t> </a:t>
            </a:r>
            <a:r>
              <a:rPr lang="de-DE" dirty="0"/>
              <a:t>Schülerinnen und Schüler das Abitur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18" name="Rechteck 17"/>
          <p:cNvSpPr/>
          <p:nvPr/>
        </p:nvSpPr>
        <p:spPr>
          <a:xfrm>
            <a:off x="1806978" y="2768399"/>
            <a:ext cx="283703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/>
              <a:t>Davon machten </a:t>
            </a:r>
            <a:r>
              <a:rPr lang="de-DE" b="1" dirty="0" smtClean="0"/>
              <a:t>3.157 </a:t>
            </a:r>
            <a:r>
              <a:rPr lang="de-DE" dirty="0" smtClean="0"/>
              <a:t>Schülerinnen </a:t>
            </a:r>
            <a:r>
              <a:rPr lang="de-DE" dirty="0"/>
              <a:t>und Schüler </a:t>
            </a:r>
            <a:r>
              <a:rPr lang="de-DE" dirty="0" smtClean="0"/>
              <a:t>nach 9 Jahren ihr </a:t>
            </a:r>
            <a:r>
              <a:rPr lang="de-DE" dirty="0"/>
              <a:t>Abitur an der Stadteilschule…</a:t>
            </a:r>
          </a:p>
        </p:txBody>
      </p:sp>
      <p:sp>
        <p:nvSpPr>
          <p:cNvPr id="19" name="Rechteck 18"/>
          <p:cNvSpPr/>
          <p:nvPr/>
        </p:nvSpPr>
        <p:spPr>
          <a:xfrm>
            <a:off x="4828884" y="2767646"/>
            <a:ext cx="28394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…und </a:t>
            </a:r>
            <a:r>
              <a:rPr lang="de-DE" b="1" dirty="0" smtClean="0"/>
              <a:t>5.504 </a:t>
            </a:r>
            <a:r>
              <a:rPr lang="de-DE" dirty="0"/>
              <a:t>Schülerinnen und Schüler </a:t>
            </a:r>
            <a:r>
              <a:rPr lang="de-DE" dirty="0" smtClean="0"/>
              <a:t>nach 8 Jahren ihr </a:t>
            </a:r>
            <a:r>
              <a:rPr lang="de-DE" dirty="0"/>
              <a:t>Abitur am </a:t>
            </a:r>
            <a:r>
              <a:rPr lang="de-DE" dirty="0" smtClean="0"/>
              <a:t>Gymnasium.</a:t>
            </a:r>
            <a:endParaRPr lang="de-DE" b="1" dirty="0"/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0648" y="2120060"/>
            <a:ext cx="798426" cy="543742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6887" y="2096132"/>
            <a:ext cx="798426" cy="543742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1435" y="2083419"/>
            <a:ext cx="798426" cy="543742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9785" y="2121448"/>
            <a:ext cx="798426" cy="543742"/>
          </a:xfrm>
          <a:prstGeom prst="rect">
            <a:avLst/>
          </a:prstGeom>
        </p:spPr>
      </p:pic>
      <p:pic>
        <p:nvPicPr>
          <p:cNvPr id="39" name="Grafik 3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7605" y="1911335"/>
            <a:ext cx="798426" cy="543742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5074" y="2031722"/>
            <a:ext cx="798426" cy="543742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1936" y="2244665"/>
            <a:ext cx="798428" cy="543742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6886" y="2303593"/>
            <a:ext cx="798428" cy="543742"/>
          </a:xfrm>
          <a:prstGeom prst="rect">
            <a:avLst/>
          </a:prstGeom>
        </p:spPr>
      </p:pic>
      <p:pic>
        <p:nvPicPr>
          <p:cNvPr id="43" name="Grafik 4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761" y="2134044"/>
            <a:ext cx="798426" cy="543742"/>
          </a:xfrm>
          <a:prstGeom prst="rect">
            <a:avLst/>
          </a:prstGeom>
        </p:spPr>
      </p:pic>
      <p:pic>
        <p:nvPicPr>
          <p:cNvPr id="44" name="Grafik 4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0000" y="2110116"/>
            <a:ext cx="798426" cy="543742"/>
          </a:xfrm>
          <a:prstGeom prst="rect">
            <a:avLst/>
          </a:prstGeom>
        </p:spPr>
      </p:pic>
      <p:pic>
        <p:nvPicPr>
          <p:cNvPr id="45" name="Grafik 4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4548" y="2097403"/>
            <a:ext cx="798426" cy="543742"/>
          </a:xfrm>
          <a:prstGeom prst="rect">
            <a:avLst/>
          </a:prstGeom>
        </p:spPr>
      </p:pic>
      <p:pic>
        <p:nvPicPr>
          <p:cNvPr id="46" name="Grafik 4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2898" y="2135432"/>
            <a:ext cx="798426" cy="543742"/>
          </a:xfrm>
          <a:prstGeom prst="rect">
            <a:avLst/>
          </a:prstGeom>
        </p:spPr>
      </p:pic>
      <p:pic>
        <p:nvPicPr>
          <p:cNvPr id="47" name="Grafik 4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0718" y="1925319"/>
            <a:ext cx="798426" cy="543742"/>
          </a:xfrm>
          <a:prstGeom prst="rect">
            <a:avLst/>
          </a:prstGeom>
        </p:spPr>
      </p:pic>
      <p:pic>
        <p:nvPicPr>
          <p:cNvPr id="48" name="Grafik 4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8187" y="2045706"/>
            <a:ext cx="798426" cy="543742"/>
          </a:xfrm>
          <a:prstGeom prst="rect">
            <a:avLst/>
          </a:prstGeom>
        </p:spPr>
      </p:pic>
      <p:pic>
        <p:nvPicPr>
          <p:cNvPr id="49" name="Grafik 4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5049" y="2258649"/>
            <a:ext cx="798428" cy="543742"/>
          </a:xfrm>
          <a:prstGeom prst="rect">
            <a:avLst/>
          </a:prstGeom>
        </p:spPr>
      </p:pic>
      <p:pic>
        <p:nvPicPr>
          <p:cNvPr id="50" name="Grafik 4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9999" y="2317577"/>
            <a:ext cx="798428" cy="54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165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Abs val="2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Abs val="2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" presetClass="entr" presetSubtype="1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2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2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2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2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2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2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2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2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2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2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2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2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2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2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Abs val="20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2" presetClass="entr" presetSubtype="1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2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2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2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2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2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2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2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2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2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2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2" presetClass="entr" presetSubtype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2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2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2" presetClass="entr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2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2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2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2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3" grpId="0"/>
      <p:bldP spid="18" grpId="0"/>
      <p:bldP spid="1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79712" y="4295257"/>
            <a:ext cx="360000" cy="360000"/>
          </a:xfrm>
        </p:spPr>
        <p:txBody>
          <a:bodyPr/>
          <a:lstStyle/>
          <a:p>
            <a:r>
              <a:rPr lang="de-DE" sz="1800" dirty="0"/>
              <a:t>2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47764" y="4352147"/>
            <a:ext cx="6438102" cy="246221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Der Übergang in Zahlen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7" name="Grafik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195" y="1032211"/>
            <a:ext cx="2413636" cy="1499957"/>
          </a:xfrm>
          <a:prstGeom prst="rect">
            <a:avLst/>
          </a:prstGeom>
        </p:spPr>
      </p:pic>
      <p:pic>
        <p:nvPicPr>
          <p:cNvPr id="38" name="Grafik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529" y="1432791"/>
            <a:ext cx="2410985" cy="1080000"/>
          </a:xfrm>
          <a:prstGeom prst="rect">
            <a:avLst/>
          </a:prstGeom>
        </p:spPr>
      </p:pic>
      <p:sp>
        <p:nvSpPr>
          <p:cNvPr id="13" name="Rechteck 12"/>
          <p:cNvSpPr/>
          <p:nvPr/>
        </p:nvSpPr>
        <p:spPr>
          <a:xfrm>
            <a:off x="1965141" y="583294"/>
            <a:ext cx="493704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Im Jahr </a:t>
            </a:r>
            <a:r>
              <a:rPr lang="de-DE" dirty="0" smtClean="0"/>
              <a:t>2020 </a:t>
            </a:r>
            <a:r>
              <a:rPr lang="de-DE" dirty="0"/>
              <a:t>erreichten in Hamburg </a:t>
            </a:r>
            <a:r>
              <a:rPr lang="de-DE" b="1" dirty="0" smtClean="0"/>
              <a:t>8.661 </a:t>
            </a:r>
            <a:r>
              <a:rPr lang="de-DE" dirty="0" smtClean="0"/>
              <a:t>Schülerinnen </a:t>
            </a:r>
            <a:r>
              <a:rPr lang="de-DE" dirty="0"/>
              <a:t>und Schüler das Abitur.</a:t>
            </a:r>
          </a:p>
          <a:p>
            <a:r>
              <a:rPr lang="de-DE" dirty="0"/>
              <a:t> </a:t>
            </a:r>
          </a:p>
        </p:txBody>
      </p:sp>
      <p:sp>
        <p:nvSpPr>
          <p:cNvPr id="26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83130" y="4295257"/>
            <a:ext cx="360000" cy="360000"/>
          </a:xfrm>
        </p:spPr>
        <p:txBody>
          <a:bodyPr>
            <a:noAutofit/>
          </a:bodyPr>
          <a:lstStyle/>
          <a:p>
            <a:r>
              <a:rPr lang="de-DE" sz="1800" dirty="0" smtClean="0"/>
              <a:t>3</a:t>
            </a:r>
            <a:endParaRPr lang="de-DE" sz="1800" dirty="0"/>
          </a:p>
        </p:txBody>
      </p:sp>
      <p:sp>
        <p:nvSpPr>
          <p:cNvPr id="2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51182" y="4352147"/>
            <a:ext cx="6438102" cy="246221"/>
          </a:xfrm>
        </p:spPr>
        <p:txBody>
          <a:bodyPr/>
          <a:lstStyle/>
          <a:p>
            <a:r>
              <a:rPr lang="de-DE" dirty="0" smtClean="0"/>
              <a:t>Unterricht und Lernen</a:t>
            </a:r>
            <a:endParaRPr lang="de-DE" dirty="0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0648" y="2120060"/>
            <a:ext cx="798426" cy="543742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6887" y="2096132"/>
            <a:ext cx="798426" cy="543742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1435" y="2083419"/>
            <a:ext cx="798426" cy="543742"/>
          </a:xfrm>
          <a:prstGeom prst="rect">
            <a:avLst/>
          </a:prstGeom>
        </p:spPr>
      </p:pic>
      <p:pic>
        <p:nvPicPr>
          <p:cNvPr id="51" name="Grafik 5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9785" y="2121448"/>
            <a:ext cx="798426" cy="543742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7605" y="1911335"/>
            <a:ext cx="798426" cy="543742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5074" y="2031722"/>
            <a:ext cx="798426" cy="543742"/>
          </a:xfrm>
          <a:prstGeom prst="rect">
            <a:avLst/>
          </a:prstGeom>
        </p:spPr>
      </p:pic>
      <p:pic>
        <p:nvPicPr>
          <p:cNvPr id="54" name="Grafik 5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1936" y="2244665"/>
            <a:ext cx="798428" cy="543742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6886" y="2303593"/>
            <a:ext cx="798428" cy="543742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761" y="2134044"/>
            <a:ext cx="798426" cy="543742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0000" y="2110116"/>
            <a:ext cx="798426" cy="543742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4548" y="2097403"/>
            <a:ext cx="798426" cy="543742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2898" y="2135432"/>
            <a:ext cx="798426" cy="543742"/>
          </a:xfrm>
          <a:prstGeom prst="rect">
            <a:avLst/>
          </a:prstGeom>
        </p:spPr>
      </p:pic>
      <p:pic>
        <p:nvPicPr>
          <p:cNvPr id="61" name="Grafik 6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0718" y="1925319"/>
            <a:ext cx="798426" cy="543742"/>
          </a:xfrm>
          <a:prstGeom prst="rect">
            <a:avLst/>
          </a:prstGeom>
        </p:spPr>
      </p:pic>
      <p:pic>
        <p:nvPicPr>
          <p:cNvPr id="62" name="Grafik 6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8187" y="2045706"/>
            <a:ext cx="798426" cy="543742"/>
          </a:xfrm>
          <a:prstGeom prst="rect">
            <a:avLst/>
          </a:prstGeom>
        </p:spPr>
      </p:pic>
      <p:pic>
        <p:nvPicPr>
          <p:cNvPr id="63" name="Grafik 6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5049" y="2258649"/>
            <a:ext cx="798428" cy="543742"/>
          </a:xfrm>
          <a:prstGeom prst="rect">
            <a:avLst/>
          </a:prstGeom>
        </p:spPr>
      </p:pic>
      <p:pic>
        <p:nvPicPr>
          <p:cNvPr id="64" name="Grafik 6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9999" y="2317577"/>
            <a:ext cx="798428" cy="543742"/>
          </a:xfrm>
          <a:prstGeom prst="rect">
            <a:avLst/>
          </a:prstGeom>
        </p:spPr>
      </p:pic>
      <p:sp>
        <p:nvSpPr>
          <p:cNvPr id="65" name="Rechteck 64"/>
          <p:cNvSpPr/>
          <p:nvPr/>
        </p:nvSpPr>
        <p:spPr>
          <a:xfrm>
            <a:off x="1854016" y="106710"/>
            <a:ext cx="55536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STADTTEILSCHULEN UND GYMNASIEN BIETEN: </a:t>
            </a:r>
            <a:endParaRPr lang="de-DE" dirty="0"/>
          </a:p>
        </p:txBody>
      </p:sp>
      <p:graphicFrame>
        <p:nvGraphicFramePr>
          <p:cNvPr id="66" name="Diagramm 65"/>
          <p:cNvGraphicFramePr/>
          <p:nvPr>
            <p:extLst>
              <p:ext uri="{D42A27DB-BD31-4B8C-83A1-F6EECF244321}">
                <p14:modId xmlns:p14="http://schemas.microsoft.com/office/powerpoint/2010/main" val="3988397614"/>
              </p:ext>
            </p:extLst>
          </p:nvPr>
        </p:nvGraphicFramePr>
        <p:xfrm>
          <a:off x="2771800" y="1437680"/>
          <a:ext cx="3319475" cy="18217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67" name="Diagramm 66"/>
          <p:cNvGraphicFramePr/>
          <p:nvPr>
            <p:extLst>
              <p:ext uri="{D42A27DB-BD31-4B8C-83A1-F6EECF244321}">
                <p14:modId xmlns:p14="http://schemas.microsoft.com/office/powerpoint/2010/main" val="401438241"/>
              </p:ext>
            </p:extLst>
          </p:nvPr>
        </p:nvGraphicFramePr>
        <p:xfrm>
          <a:off x="5759306" y="2714746"/>
          <a:ext cx="1933049" cy="2651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68" name="Diagramm 67"/>
          <p:cNvGraphicFramePr/>
          <p:nvPr>
            <p:extLst>
              <p:ext uri="{D42A27DB-BD31-4B8C-83A1-F6EECF244321}">
                <p14:modId xmlns:p14="http://schemas.microsoft.com/office/powerpoint/2010/main" val="460886632"/>
              </p:ext>
            </p:extLst>
          </p:nvPr>
        </p:nvGraphicFramePr>
        <p:xfrm>
          <a:off x="5912898" y="1526734"/>
          <a:ext cx="2730158" cy="255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71" name="Diagramm 70"/>
          <p:cNvGraphicFramePr/>
          <p:nvPr>
            <p:extLst>
              <p:ext uri="{D42A27DB-BD31-4B8C-83A1-F6EECF244321}">
                <p14:modId xmlns:p14="http://schemas.microsoft.com/office/powerpoint/2010/main" val="3038242615"/>
              </p:ext>
            </p:extLst>
          </p:nvPr>
        </p:nvGraphicFramePr>
        <p:xfrm>
          <a:off x="5509022" y="2116937"/>
          <a:ext cx="3548286" cy="255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72" name="Diagramm 71"/>
          <p:cNvGraphicFramePr/>
          <p:nvPr>
            <p:extLst>
              <p:ext uri="{D42A27DB-BD31-4B8C-83A1-F6EECF244321}">
                <p14:modId xmlns:p14="http://schemas.microsoft.com/office/powerpoint/2010/main" val="3673992710"/>
              </p:ext>
            </p:extLst>
          </p:nvPr>
        </p:nvGraphicFramePr>
        <p:xfrm>
          <a:off x="1921435" y="3413977"/>
          <a:ext cx="4870818" cy="255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graphicFrame>
        <p:nvGraphicFramePr>
          <p:cNvPr id="73" name="Diagramm 72"/>
          <p:cNvGraphicFramePr/>
          <p:nvPr>
            <p:extLst>
              <p:ext uri="{D42A27DB-BD31-4B8C-83A1-F6EECF244321}">
                <p14:modId xmlns:p14="http://schemas.microsoft.com/office/powerpoint/2010/main" val="3490544990"/>
              </p:ext>
            </p:extLst>
          </p:nvPr>
        </p:nvGraphicFramePr>
        <p:xfrm>
          <a:off x="2159702" y="986808"/>
          <a:ext cx="4261623" cy="255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graphicFrame>
        <p:nvGraphicFramePr>
          <p:cNvPr id="74" name="Diagramm 73"/>
          <p:cNvGraphicFramePr/>
          <p:nvPr>
            <p:extLst>
              <p:ext uri="{D42A27DB-BD31-4B8C-83A1-F6EECF244321}">
                <p14:modId xmlns:p14="http://schemas.microsoft.com/office/powerpoint/2010/main" val="3199936034"/>
              </p:ext>
            </p:extLst>
          </p:nvPr>
        </p:nvGraphicFramePr>
        <p:xfrm>
          <a:off x="178634" y="2393319"/>
          <a:ext cx="2604359" cy="512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8" name="Rechteck 17"/>
          <p:cNvSpPr/>
          <p:nvPr/>
        </p:nvSpPr>
        <p:spPr>
          <a:xfrm>
            <a:off x="1807756" y="2768399"/>
            <a:ext cx="282888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/>
              <a:t>Davon machten </a:t>
            </a:r>
            <a:r>
              <a:rPr lang="de-DE" b="1" dirty="0" smtClean="0"/>
              <a:t>3.157 </a:t>
            </a:r>
            <a:r>
              <a:rPr lang="de-DE" dirty="0"/>
              <a:t>Schülerinnen und Schüler </a:t>
            </a:r>
            <a:r>
              <a:rPr lang="de-DE" dirty="0" smtClean="0"/>
              <a:t>nach 9 Jahren ihr </a:t>
            </a:r>
            <a:r>
              <a:rPr lang="de-DE" dirty="0"/>
              <a:t>Abitur an der Stadteilschule…</a:t>
            </a:r>
          </a:p>
        </p:txBody>
      </p:sp>
      <p:graphicFrame>
        <p:nvGraphicFramePr>
          <p:cNvPr id="35" name="Diagramm 34"/>
          <p:cNvGraphicFramePr/>
          <p:nvPr>
            <p:extLst>
              <p:ext uri="{D42A27DB-BD31-4B8C-83A1-F6EECF244321}">
                <p14:modId xmlns:p14="http://schemas.microsoft.com/office/powerpoint/2010/main" val="4119523545"/>
              </p:ext>
            </p:extLst>
          </p:nvPr>
        </p:nvGraphicFramePr>
        <p:xfrm>
          <a:off x="592432" y="1518771"/>
          <a:ext cx="2658005" cy="512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8" r:lo="rId49" r:qs="rId50" r:cs="rId51"/>
          </a:graphicData>
        </a:graphic>
      </p:graphicFrame>
      <p:sp>
        <p:nvSpPr>
          <p:cNvPr id="19" name="Rechteck 18"/>
          <p:cNvSpPr/>
          <p:nvPr/>
        </p:nvSpPr>
        <p:spPr>
          <a:xfrm>
            <a:off x="4828883" y="2767646"/>
            <a:ext cx="286347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…und </a:t>
            </a:r>
            <a:r>
              <a:rPr lang="de-DE" b="1" dirty="0" smtClean="0"/>
              <a:t>5.504</a:t>
            </a:r>
            <a:r>
              <a:rPr lang="de-DE" dirty="0" smtClean="0"/>
              <a:t> Schülerinnen </a:t>
            </a:r>
            <a:r>
              <a:rPr lang="de-DE" dirty="0"/>
              <a:t>und </a:t>
            </a:r>
            <a:r>
              <a:rPr lang="de-DE" dirty="0" smtClean="0"/>
              <a:t>Schüler nach 8 Jahren </a:t>
            </a:r>
            <a:r>
              <a:rPr lang="de-DE" dirty="0"/>
              <a:t>ihr Abitur am </a:t>
            </a:r>
            <a:r>
              <a:rPr lang="de-DE" dirty="0" smtClean="0"/>
              <a:t>Gymnasium.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96356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accel="75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accel="75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" presetClass="emph" presetSubtype="2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4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9" presetID="2" presetClass="exit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0" dur="1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2" presetClass="exit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4" dur="1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2" presetClass="exit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8" dur="2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2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2" presetClass="exit" presetSubtype="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2" dur="2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2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2" presetClass="exit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6" dur="2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2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42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22222E-6 3.7037E-6 L 0.26025 -0.21914 " pathEditMode="relative" rAng="0" ptsTypes="AA">
                                      <p:cBhvr>
                                        <p:cTn id="4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003" y="-10957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42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3.61111E-6 -1.97531E-6 L -0.22257 -0.23024 " pathEditMode="relative" rAng="0" ptsTypes="AA">
                                      <p:cBhvr>
                                        <p:cTn id="4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128" y="-11512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2" presetClass="exit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4" dur="1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1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2" presetClass="exit" presetSubtype="4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8" dur="1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1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2" dur="1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1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6" dur="1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1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2" presetClass="exit" presetSubtype="4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0" dur="1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1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2" presetClass="exit" presetSubtype="4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4" dur="1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1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8" dur="1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1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2" dur="100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100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2" presetClass="exit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6" dur="1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1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2" presetClass="exit" presetSubtype="4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0" dur="100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100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4" dur="1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1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8" dur="1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1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2" presetClass="exit" presetSubtype="4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2" dur="1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1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2" presetClass="exit" presetSubtype="4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96" dur="1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7" dur="1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0" dur="1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1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4" dur="100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5" dur="100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500"/>
                            </p:stCondLst>
                            <p:childTnLst>
                              <p:par>
                                <p:cTn id="113" presetID="2" presetClass="entr" presetSubtype="1" decel="67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2" presetClass="entr" presetSubtype="2" decel="75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2" dur="1000" fill="hold"/>
                                        <p:tgtEl>
                                          <p:spTgt spid="68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3" dur="1000" fill="hold"/>
                                        <p:tgtEl>
                                          <p:spTgt spid="68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1000"/>
                                        <p:tgtEl>
                                          <p:spTgt spid="68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2" presetClass="entr" presetSubtype="2" decel="75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1000" fill="hold"/>
                                        <p:tgtEl>
                                          <p:spTgt spid="71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1000" fill="hold"/>
                                        <p:tgtEl>
                                          <p:spTgt spid="71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71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2" presetClass="entr" presetSubtype="4" decel="75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6" dur="1000" fill="hold"/>
                                        <p:tgtEl>
                                          <p:spTgt spid="72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7" dur="1000" fill="hold"/>
                                        <p:tgtEl>
                                          <p:spTgt spid="72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1000"/>
                                        <p:tgtEl>
                                          <p:spTgt spid="72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2" presetClass="entr" presetSubtype="2" decel="75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1000" fill="hold"/>
                                        <p:tgtEl>
                                          <p:spTgt spid="67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1000" fill="hold"/>
                                        <p:tgtEl>
                                          <p:spTgt spid="67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1000"/>
                                        <p:tgtEl>
                                          <p:spTgt spid="67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0" dur="1000" fill="hold"/>
                                        <p:tgtEl>
                                          <p:spTgt spid="74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1" dur="1000" fill="hold"/>
                                        <p:tgtEl>
                                          <p:spTgt spid="74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1000"/>
                                        <p:tgtEl>
                                          <p:spTgt spid="74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7" dur="1000" fill="hold"/>
                                        <p:tgtEl>
                                          <p:spTgt spid="35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8" dur="1000" fill="hold"/>
                                        <p:tgtEl>
                                          <p:spTgt spid="35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1000"/>
                                        <p:tgtEl>
                                          <p:spTgt spid="35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7" grpId="0"/>
      <p:bldP spid="13" grpId="0"/>
      <p:bldP spid="26" grpId="0" animBg="1"/>
      <p:bldP spid="27" grpId="0" build="p"/>
      <p:bldP spid="27" grpId="1" build="p"/>
      <p:bldP spid="65" grpId="0"/>
      <p:bldGraphic spid="66" grpId="0">
        <p:bldAsOne/>
      </p:bldGraphic>
      <p:bldGraphic spid="67" grpId="0">
        <p:bldSub>
          <a:bldDgm bld="lvlOne"/>
        </p:bldSub>
      </p:bldGraphic>
      <p:bldGraphic spid="67" grpId="1">
        <p:bldSub>
          <a:bldDgm bld="lvlOne"/>
        </p:bldSub>
      </p:bldGraphic>
      <p:bldGraphic spid="68" grpId="0">
        <p:bldSub>
          <a:bldDgm bld="lvlOne"/>
        </p:bldSub>
      </p:bldGraphic>
      <p:bldGraphic spid="68" grpId="1">
        <p:bldSub>
          <a:bldDgm bld="lvlOne"/>
        </p:bldSub>
      </p:bldGraphic>
      <p:bldGraphic spid="71" grpId="0">
        <p:bldSub>
          <a:bldDgm bld="lvlOne"/>
        </p:bldSub>
      </p:bldGraphic>
      <p:bldGraphic spid="71" grpId="1">
        <p:bldSub>
          <a:bldDgm bld="lvlOne"/>
        </p:bldSub>
      </p:bldGraphic>
      <p:bldGraphic spid="72" grpId="0">
        <p:bldSub>
          <a:bldDgm bld="lvlOne"/>
        </p:bldSub>
      </p:bldGraphic>
      <p:bldGraphic spid="72" grpId="1">
        <p:bldSub>
          <a:bldDgm bld="lvlOne"/>
        </p:bldSub>
      </p:bldGraphic>
      <p:bldGraphic spid="73" grpId="0">
        <p:bldAsOne/>
      </p:bldGraphic>
      <p:bldGraphic spid="73" grpId="1">
        <p:bldAsOne/>
      </p:bldGraphic>
      <p:bldGraphic spid="74" grpId="0">
        <p:bldSub>
          <a:bldDgm bld="lvlOne"/>
        </p:bldSub>
      </p:bldGraphic>
      <p:bldGraphic spid="74" grpId="1">
        <p:bldSub>
          <a:bldDgm bld="lvlOne"/>
        </p:bldSub>
      </p:bldGraphic>
      <p:bldP spid="18" grpId="0"/>
      <p:bldGraphic spid="35" grpId="0">
        <p:bldSub>
          <a:bldDgm bld="lvlOne"/>
        </p:bldSub>
      </p:bldGraphic>
      <p:bldGraphic spid="35" grpId="1">
        <p:bldSub>
          <a:bldDgm bld="lvlOne"/>
        </p:bldSub>
      </p:bldGraphic>
      <p:bldP spid="1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82093" y="4295257"/>
            <a:ext cx="360000" cy="360000"/>
          </a:xfrm>
        </p:spPr>
        <p:txBody>
          <a:bodyPr/>
          <a:lstStyle/>
          <a:p>
            <a:r>
              <a:rPr lang="de-DE" sz="1800" dirty="0" smtClean="0"/>
              <a:t>3</a:t>
            </a:r>
            <a:endParaRPr lang="de-DE" sz="1800" dirty="0"/>
          </a:p>
        </p:txBody>
      </p:sp>
      <p:sp>
        <p:nvSpPr>
          <p:cNvPr id="26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83130" y="4295257"/>
            <a:ext cx="360000" cy="360000"/>
          </a:xfrm>
        </p:spPr>
        <p:txBody>
          <a:bodyPr>
            <a:noAutofit/>
          </a:bodyPr>
          <a:lstStyle/>
          <a:p>
            <a:r>
              <a:rPr lang="de-DE" sz="1800" dirty="0" smtClean="0"/>
              <a:t>4</a:t>
            </a:r>
            <a:endParaRPr lang="de-DE" sz="180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50145" y="4352147"/>
            <a:ext cx="6438102" cy="246221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Unterricht und Lernen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51182" y="4352147"/>
            <a:ext cx="6438102" cy="246221"/>
          </a:xfrm>
        </p:spPr>
        <p:txBody>
          <a:bodyPr/>
          <a:lstStyle/>
          <a:p>
            <a:r>
              <a:rPr lang="de-DE" dirty="0" smtClean="0"/>
              <a:t>Die Schulformen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6273800" y="441999"/>
            <a:ext cx="262746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de-DE" sz="1500" dirty="0"/>
              <a:t>eine Schule für alle </a:t>
            </a:r>
            <a:r>
              <a:rPr lang="de-DE" sz="1500" dirty="0" smtClean="0"/>
              <a:t>Talente</a:t>
            </a:r>
            <a:r>
              <a:rPr lang="de-DE" sz="1500" dirty="0"/>
              <a:t>, </a:t>
            </a:r>
            <a:r>
              <a:rPr lang="de-DE" sz="1500" dirty="0" smtClean="0"/>
              <a:t/>
            </a:r>
            <a:br>
              <a:rPr lang="de-DE" sz="1500" dirty="0" smtClean="0"/>
            </a:br>
            <a:r>
              <a:rPr lang="de-DE" sz="1500" dirty="0" smtClean="0"/>
              <a:t>Stärken und </a:t>
            </a:r>
            <a:r>
              <a:rPr lang="de-DE" sz="1500" dirty="0"/>
              <a:t>Interessen</a:t>
            </a:r>
          </a:p>
        </p:txBody>
      </p:sp>
      <p:sp>
        <p:nvSpPr>
          <p:cNvPr id="36" name="Rechteck 35"/>
          <p:cNvSpPr/>
          <p:nvPr/>
        </p:nvSpPr>
        <p:spPr>
          <a:xfrm>
            <a:off x="1854016" y="106710"/>
            <a:ext cx="55536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STADTTEILSCHULEN UND GYMNASIEN BIETEN: </a:t>
            </a:r>
            <a:endParaRPr lang="de-DE" dirty="0"/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1440" y="-94822"/>
            <a:ext cx="2413636" cy="1499957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641" y="248847"/>
            <a:ext cx="2410985" cy="1080000"/>
          </a:xfrm>
          <a:prstGeom prst="rect">
            <a:avLst/>
          </a:prstGeom>
        </p:spPr>
      </p:pic>
      <p:sp>
        <p:nvSpPr>
          <p:cNvPr id="41" name="Titel 3"/>
          <p:cNvSpPr txBox="1">
            <a:spLocks/>
          </p:cNvSpPr>
          <p:nvPr/>
        </p:nvSpPr>
        <p:spPr>
          <a:xfrm>
            <a:off x="5031657" y="82631"/>
            <a:ext cx="8529485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1" dirty="0" smtClean="0">
                <a:solidFill>
                  <a:srgbClr val="AAC686"/>
                </a:solidFill>
              </a:rPr>
              <a:t>Die Stadtteilschule</a:t>
            </a:r>
            <a:endParaRPr lang="de-DE" b="1" dirty="0">
              <a:solidFill>
                <a:srgbClr val="AAC686"/>
              </a:solidFill>
            </a:endParaRPr>
          </a:p>
        </p:txBody>
      </p:sp>
      <p:graphicFrame>
        <p:nvGraphicFramePr>
          <p:cNvPr id="84" name="Diagramm 83"/>
          <p:cNvGraphicFramePr/>
          <p:nvPr>
            <p:extLst>
              <p:ext uri="{D42A27DB-BD31-4B8C-83A1-F6EECF244321}">
                <p14:modId xmlns:p14="http://schemas.microsoft.com/office/powerpoint/2010/main" val="2731691074"/>
              </p:ext>
            </p:extLst>
          </p:nvPr>
        </p:nvGraphicFramePr>
        <p:xfrm>
          <a:off x="2520000" y="2484000"/>
          <a:ext cx="4147449" cy="21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85" name="Diagramm 84"/>
          <p:cNvGraphicFramePr/>
          <p:nvPr>
            <p:extLst>
              <p:ext uri="{D42A27DB-BD31-4B8C-83A1-F6EECF244321}">
                <p14:modId xmlns:p14="http://schemas.microsoft.com/office/powerpoint/2010/main" val="1537407465"/>
              </p:ext>
            </p:extLst>
          </p:nvPr>
        </p:nvGraphicFramePr>
        <p:xfrm>
          <a:off x="1872000" y="3636000"/>
          <a:ext cx="3600096" cy="21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graphicFrame>
        <p:nvGraphicFramePr>
          <p:cNvPr id="86" name="Diagramm 85"/>
          <p:cNvGraphicFramePr/>
          <p:nvPr>
            <p:extLst>
              <p:ext uri="{D42A27DB-BD31-4B8C-83A1-F6EECF244321}">
                <p14:modId xmlns:p14="http://schemas.microsoft.com/office/powerpoint/2010/main" val="3189525722"/>
              </p:ext>
            </p:extLst>
          </p:nvPr>
        </p:nvGraphicFramePr>
        <p:xfrm>
          <a:off x="2798153" y="483518"/>
          <a:ext cx="1557823" cy="21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graphicFrame>
        <p:nvGraphicFramePr>
          <p:cNvPr id="87" name="Diagramm 86"/>
          <p:cNvGraphicFramePr/>
          <p:nvPr>
            <p:extLst>
              <p:ext uri="{D42A27DB-BD31-4B8C-83A1-F6EECF244321}">
                <p14:modId xmlns:p14="http://schemas.microsoft.com/office/powerpoint/2010/main" val="3947447873"/>
              </p:ext>
            </p:extLst>
          </p:nvPr>
        </p:nvGraphicFramePr>
        <p:xfrm>
          <a:off x="1349006" y="1865350"/>
          <a:ext cx="4951186" cy="4568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0" r:lo="rId21" r:qs="rId22" r:cs="rId23"/>
          </a:graphicData>
        </a:graphic>
      </p:graphicFrame>
      <p:graphicFrame>
        <p:nvGraphicFramePr>
          <p:cNvPr id="88" name="Diagramm 87"/>
          <p:cNvGraphicFramePr/>
          <p:nvPr>
            <p:extLst>
              <p:ext uri="{D42A27DB-BD31-4B8C-83A1-F6EECF244321}">
                <p14:modId xmlns:p14="http://schemas.microsoft.com/office/powerpoint/2010/main" val="2435287635"/>
              </p:ext>
            </p:extLst>
          </p:nvPr>
        </p:nvGraphicFramePr>
        <p:xfrm>
          <a:off x="2159703" y="1441878"/>
          <a:ext cx="5738555" cy="21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5" r:lo="rId26" r:qs="rId27" r:cs="rId28"/>
          </a:graphicData>
        </a:graphic>
      </p:graphicFrame>
      <p:graphicFrame>
        <p:nvGraphicFramePr>
          <p:cNvPr id="90" name="Diagramm 89"/>
          <p:cNvGraphicFramePr/>
          <p:nvPr>
            <p:extLst>
              <p:ext uri="{D42A27DB-BD31-4B8C-83A1-F6EECF244321}">
                <p14:modId xmlns:p14="http://schemas.microsoft.com/office/powerpoint/2010/main" val="3696655346"/>
              </p:ext>
            </p:extLst>
          </p:nvPr>
        </p:nvGraphicFramePr>
        <p:xfrm>
          <a:off x="3059832" y="888432"/>
          <a:ext cx="3008826" cy="42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0" r:lo="rId31" r:qs="rId32" r:cs="rId33"/>
          </a:graphicData>
        </a:graphic>
      </p:graphicFrame>
      <p:graphicFrame>
        <p:nvGraphicFramePr>
          <p:cNvPr id="25" name="Diagramm 24"/>
          <p:cNvGraphicFramePr/>
          <p:nvPr>
            <p:extLst>
              <p:ext uri="{D42A27DB-BD31-4B8C-83A1-F6EECF244321}">
                <p14:modId xmlns:p14="http://schemas.microsoft.com/office/powerpoint/2010/main" val="2862812547"/>
              </p:ext>
            </p:extLst>
          </p:nvPr>
        </p:nvGraphicFramePr>
        <p:xfrm>
          <a:off x="2016000" y="3240000"/>
          <a:ext cx="3598020" cy="21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5" r:lo="rId36" r:qs="rId37" r:cs="rId38"/>
          </a:graphicData>
        </a:graphic>
      </p:graphicFrame>
      <p:graphicFrame>
        <p:nvGraphicFramePr>
          <p:cNvPr id="28" name="Diagramm 27"/>
          <p:cNvGraphicFramePr/>
          <p:nvPr>
            <p:extLst>
              <p:ext uri="{D42A27DB-BD31-4B8C-83A1-F6EECF244321}">
                <p14:modId xmlns:p14="http://schemas.microsoft.com/office/powerpoint/2010/main" val="2184436932"/>
              </p:ext>
            </p:extLst>
          </p:nvPr>
        </p:nvGraphicFramePr>
        <p:xfrm>
          <a:off x="2771800" y="1437680"/>
          <a:ext cx="3319475" cy="18217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0" r:lo="rId41" r:qs="rId42" r:cs="rId43"/>
          </a:graphicData>
        </a:graphic>
      </p:graphicFrame>
      <p:graphicFrame>
        <p:nvGraphicFramePr>
          <p:cNvPr id="29" name="Diagramm 28"/>
          <p:cNvGraphicFramePr/>
          <p:nvPr>
            <p:extLst>
              <p:ext uri="{D42A27DB-BD31-4B8C-83A1-F6EECF244321}">
                <p14:modId xmlns:p14="http://schemas.microsoft.com/office/powerpoint/2010/main" val="2186746547"/>
              </p:ext>
            </p:extLst>
          </p:nvPr>
        </p:nvGraphicFramePr>
        <p:xfrm>
          <a:off x="5759306" y="2714746"/>
          <a:ext cx="1933049" cy="2651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5" r:lo="rId46" r:qs="rId47" r:cs="rId48"/>
          </a:graphicData>
        </a:graphic>
      </p:graphicFrame>
      <p:graphicFrame>
        <p:nvGraphicFramePr>
          <p:cNvPr id="30" name="Diagramm 29"/>
          <p:cNvGraphicFramePr/>
          <p:nvPr>
            <p:extLst>
              <p:ext uri="{D42A27DB-BD31-4B8C-83A1-F6EECF244321}">
                <p14:modId xmlns:p14="http://schemas.microsoft.com/office/powerpoint/2010/main" val="1607805311"/>
              </p:ext>
            </p:extLst>
          </p:nvPr>
        </p:nvGraphicFramePr>
        <p:xfrm>
          <a:off x="5912898" y="1526734"/>
          <a:ext cx="2730158" cy="255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0" r:lo="rId51" r:qs="rId52" r:cs="rId53"/>
          </a:graphicData>
        </a:graphic>
      </p:graphicFrame>
      <p:graphicFrame>
        <p:nvGraphicFramePr>
          <p:cNvPr id="31" name="Diagramm 30"/>
          <p:cNvGraphicFramePr/>
          <p:nvPr>
            <p:extLst>
              <p:ext uri="{D42A27DB-BD31-4B8C-83A1-F6EECF244321}">
                <p14:modId xmlns:p14="http://schemas.microsoft.com/office/powerpoint/2010/main" val="3421988886"/>
              </p:ext>
            </p:extLst>
          </p:nvPr>
        </p:nvGraphicFramePr>
        <p:xfrm>
          <a:off x="5509022" y="2116937"/>
          <a:ext cx="3548286" cy="255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5" r:lo="rId56" r:qs="rId57" r:cs="rId58"/>
          </a:graphicData>
        </a:graphic>
      </p:graphicFrame>
      <p:graphicFrame>
        <p:nvGraphicFramePr>
          <p:cNvPr id="32" name="Diagramm 31"/>
          <p:cNvGraphicFramePr/>
          <p:nvPr>
            <p:extLst>
              <p:ext uri="{D42A27DB-BD31-4B8C-83A1-F6EECF244321}">
                <p14:modId xmlns:p14="http://schemas.microsoft.com/office/powerpoint/2010/main" val="3476399116"/>
              </p:ext>
            </p:extLst>
          </p:nvPr>
        </p:nvGraphicFramePr>
        <p:xfrm>
          <a:off x="1921435" y="3413977"/>
          <a:ext cx="4870818" cy="255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0" r:lo="rId61" r:qs="rId62" r:cs="rId63"/>
          </a:graphicData>
        </a:graphic>
      </p:graphicFrame>
      <p:graphicFrame>
        <p:nvGraphicFramePr>
          <p:cNvPr id="33" name="Diagramm 32"/>
          <p:cNvGraphicFramePr/>
          <p:nvPr>
            <p:extLst>
              <p:ext uri="{D42A27DB-BD31-4B8C-83A1-F6EECF244321}">
                <p14:modId xmlns:p14="http://schemas.microsoft.com/office/powerpoint/2010/main" val="1355831173"/>
              </p:ext>
            </p:extLst>
          </p:nvPr>
        </p:nvGraphicFramePr>
        <p:xfrm>
          <a:off x="2159702" y="986808"/>
          <a:ext cx="4261623" cy="255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5" r:lo="rId66" r:qs="rId67" r:cs="rId68"/>
          </a:graphicData>
        </a:graphic>
      </p:graphicFrame>
      <p:graphicFrame>
        <p:nvGraphicFramePr>
          <p:cNvPr id="34" name="Diagramm 33"/>
          <p:cNvGraphicFramePr/>
          <p:nvPr>
            <p:extLst>
              <p:ext uri="{D42A27DB-BD31-4B8C-83A1-F6EECF244321}">
                <p14:modId xmlns:p14="http://schemas.microsoft.com/office/powerpoint/2010/main" val="1803465938"/>
              </p:ext>
            </p:extLst>
          </p:nvPr>
        </p:nvGraphicFramePr>
        <p:xfrm>
          <a:off x="178634" y="2393319"/>
          <a:ext cx="2604359" cy="512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0" r:lo="rId71" r:qs="rId72" r:cs="rId73"/>
          </a:graphicData>
        </a:graphic>
      </p:graphicFrame>
      <p:graphicFrame>
        <p:nvGraphicFramePr>
          <p:cNvPr id="37" name="Diagramm 36"/>
          <p:cNvGraphicFramePr/>
          <p:nvPr>
            <p:extLst>
              <p:ext uri="{D42A27DB-BD31-4B8C-83A1-F6EECF244321}">
                <p14:modId xmlns:p14="http://schemas.microsoft.com/office/powerpoint/2010/main" val="1616017796"/>
              </p:ext>
            </p:extLst>
          </p:nvPr>
        </p:nvGraphicFramePr>
        <p:xfrm>
          <a:off x="592432" y="1518771"/>
          <a:ext cx="2658005" cy="512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5" r:lo="rId76" r:qs="rId77" r:cs="rId78"/>
          </a:graphicData>
        </a:graphic>
      </p:graphicFrame>
      <p:graphicFrame>
        <p:nvGraphicFramePr>
          <p:cNvPr id="38" name="Diagramm 37"/>
          <p:cNvGraphicFramePr/>
          <p:nvPr>
            <p:extLst>
              <p:ext uri="{D42A27DB-BD31-4B8C-83A1-F6EECF244321}">
                <p14:modId xmlns:p14="http://schemas.microsoft.com/office/powerpoint/2010/main" val="937876761"/>
              </p:ext>
            </p:extLst>
          </p:nvPr>
        </p:nvGraphicFramePr>
        <p:xfrm>
          <a:off x="1368000" y="2880000"/>
          <a:ext cx="5657620" cy="21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0" r:lo="rId81" r:qs="rId82" r:cs="rId83"/>
          </a:graphicData>
        </a:graphic>
      </p:graphicFrame>
    </p:spTree>
    <p:extLst>
      <p:ext uri="{BB962C8B-B14F-4D97-AF65-F5344CB8AC3E}">
        <p14:creationId xmlns:p14="http://schemas.microsoft.com/office/powerpoint/2010/main" val="651990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2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2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0-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" dur="2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2" dur="2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" presetClass="exit" presetSubtype="3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5" dur="2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0-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2" presetClass="exit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9" dur="2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" presetClass="exit" presetSubtype="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3" dur="2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xit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7" dur="2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" presetClass="exit" presetSubtype="9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1" dur="2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2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0-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2" presetClass="exit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5" dur="2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2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2" presetClass="exit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4" presetClass="exit" presetSubtype="1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4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" presetClass="entr" presetSubtype="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fill="hold" grpId="0" nodeType="withEffect">
                                  <p:stCondLst>
                                    <p:cond delay="1000"/>
                                  </p:stCondLst>
                                  <p:iterate type="wd">
                                    <p:tmPct val="60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4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4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1" accel="75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1" accel="75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3" presetClass="emph" presetSubtype="2" fill="hold" grpId="1" nodeType="withEffect">
                                  <p:stCondLst>
                                    <p:cond delay="1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2" dur="4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FFFF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63" presetID="2" presetClass="exit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4" dur="1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1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2" presetClass="exit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8" dur="1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1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5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4" presetClass="entr" presetSubtype="1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4" presetClass="entr" presetSubtype="1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4" presetClass="entr" presetSubtype="1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4" presetClass="entr" presetSubtype="1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4" presetClass="entr" presetSubtype="1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4" presetClass="entr" presetSubtype="1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6" grpId="0" animBg="1"/>
      <p:bldP spid="17" grpId="0"/>
      <p:bldP spid="27" grpId="0" build="p"/>
      <p:bldP spid="27" grpId="1" build="p"/>
      <p:bldP spid="35" grpId="0"/>
      <p:bldP spid="36" grpId="0"/>
      <p:bldP spid="41" grpId="0"/>
      <p:bldGraphic spid="84" grpId="0">
        <p:bldAsOne/>
      </p:bldGraphic>
      <p:bldGraphic spid="85" grpId="0">
        <p:bldAsOne/>
      </p:bldGraphic>
      <p:bldGraphic spid="86" grpId="0">
        <p:bldAsOne/>
      </p:bldGraphic>
      <p:bldGraphic spid="87" grpId="0">
        <p:bldAsOne/>
      </p:bldGraphic>
      <p:bldGraphic spid="88" grpId="0">
        <p:bldAsOne/>
      </p:bldGraphic>
      <p:bldGraphic spid="90" grpId="0">
        <p:bldAsOne/>
      </p:bldGraphic>
      <p:bldGraphic spid="25" grpId="0">
        <p:bldAsOne/>
      </p:bldGraphic>
      <p:bldGraphic spid="28" grpId="0">
        <p:bldAsOne/>
      </p:bldGraphic>
      <p:bldGraphic spid="29" grpId="0">
        <p:bldAsOne/>
      </p:bldGraphic>
      <p:bldGraphic spid="30" grpId="0">
        <p:bldAsOne/>
      </p:bldGraphic>
      <p:bldGraphic spid="31" grpId="0">
        <p:bldAsOne/>
      </p:bldGraphic>
      <p:bldGraphic spid="32" grpId="0">
        <p:bldAsOne/>
      </p:bldGraphic>
      <p:bldGraphic spid="33" grpId="0">
        <p:bldAsOne/>
      </p:bldGraphic>
      <p:bldGraphic spid="34" grpId="0">
        <p:bldAsOne/>
      </p:bldGraphic>
      <p:bldGraphic spid="37" grpId="0">
        <p:bldAsOne/>
      </p:bldGraphic>
      <p:bldGraphic spid="38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Diagramm 63"/>
          <p:cNvGraphicFramePr/>
          <p:nvPr>
            <p:extLst>
              <p:ext uri="{D42A27DB-BD31-4B8C-83A1-F6EECF244321}">
                <p14:modId xmlns:p14="http://schemas.microsoft.com/office/powerpoint/2010/main" val="3109652566"/>
              </p:ext>
            </p:extLst>
          </p:nvPr>
        </p:nvGraphicFramePr>
        <p:xfrm>
          <a:off x="1437994" y="3300395"/>
          <a:ext cx="5990500" cy="3476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82093" y="4295257"/>
            <a:ext cx="360000" cy="360000"/>
          </a:xfrm>
        </p:spPr>
        <p:txBody>
          <a:bodyPr/>
          <a:lstStyle/>
          <a:p>
            <a:r>
              <a:rPr lang="de-DE" sz="1800" dirty="0" smtClean="0"/>
              <a:t>4</a:t>
            </a:r>
            <a:endParaRPr lang="de-DE" sz="180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50145" y="4352147"/>
            <a:ext cx="6438102" cy="246221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Die Schulformen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1440" y="-94822"/>
            <a:ext cx="2413636" cy="1499957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641" y="248847"/>
            <a:ext cx="2410985" cy="1080000"/>
          </a:xfrm>
          <a:prstGeom prst="rect">
            <a:avLst/>
          </a:prstGeom>
        </p:spPr>
      </p:pic>
      <p:sp>
        <p:nvSpPr>
          <p:cNvPr id="58" name="Titel 3"/>
          <p:cNvSpPr txBox="1">
            <a:spLocks/>
          </p:cNvSpPr>
          <p:nvPr/>
        </p:nvSpPr>
        <p:spPr>
          <a:xfrm>
            <a:off x="5031657" y="82631"/>
            <a:ext cx="8529485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1" dirty="0" smtClean="0">
                <a:solidFill>
                  <a:srgbClr val="AAC686"/>
                </a:solidFill>
              </a:rPr>
              <a:t>Die Stadtteilschule</a:t>
            </a:r>
            <a:endParaRPr lang="de-DE" b="1" dirty="0">
              <a:solidFill>
                <a:srgbClr val="AAC686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273800" y="441999"/>
            <a:ext cx="262746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de-DE" sz="1500" dirty="0"/>
              <a:t>eine Schule für alle </a:t>
            </a:r>
            <a:r>
              <a:rPr lang="de-DE" sz="1500" dirty="0" smtClean="0"/>
              <a:t>Talente</a:t>
            </a:r>
            <a:r>
              <a:rPr lang="de-DE" sz="1500" dirty="0"/>
              <a:t>, </a:t>
            </a:r>
            <a:r>
              <a:rPr lang="de-DE" sz="1500" dirty="0" smtClean="0"/>
              <a:t/>
            </a:r>
            <a:br>
              <a:rPr lang="de-DE" sz="1500" dirty="0" smtClean="0"/>
            </a:br>
            <a:r>
              <a:rPr lang="de-DE" sz="1500" dirty="0" smtClean="0"/>
              <a:t>Stärken und </a:t>
            </a:r>
            <a:r>
              <a:rPr lang="de-DE" sz="1500" dirty="0"/>
              <a:t>Interessen</a:t>
            </a:r>
          </a:p>
        </p:txBody>
      </p:sp>
      <p:graphicFrame>
        <p:nvGraphicFramePr>
          <p:cNvPr id="60" name="Diagramm 59"/>
          <p:cNvGraphicFramePr/>
          <p:nvPr>
            <p:extLst>
              <p:ext uri="{D42A27DB-BD31-4B8C-83A1-F6EECF244321}">
                <p14:modId xmlns:p14="http://schemas.microsoft.com/office/powerpoint/2010/main" val="3742499278"/>
              </p:ext>
            </p:extLst>
          </p:nvPr>
        </p:nvGraphicFramePr>
        <p:xfrm>
          <a:off x="1076348" y="2727491"/>
          <a:ext cx="4147449" cy="223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graphicFrame>
        <p:nvGraphicFramePr>
          <p:cNvPr id="61" name="Diagramm 60"/>
          <p:cNvGraphicFramePr/>
          <p:nvPr>
            <p:extLst>
              <p:ext uri="{D42A27DB-BD31-4B8C-83A1-F6EECF244321}">
                <p14:modId xmlns:p14="http://schemas.microsoft.com/office/powerpoint/2010/main" val="658695062"/>
              </p:ext>
            </p:extLst>
          </p:nvPr>
        </p:nvGraphicFramePr>
        <p:xfrm>
          <a:off x="1634464" y="1691587"/>
          <a:ext cx="3305608" cy="2858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72" name="Titel 3"/>
          <p:cNvSpPr txBox="1">
            <a:spLocks/>
          </p:cNvSpPr>
          <p:nvPr/>
        </p:nvSpPr>
        <p:spPr>
          <a:xfrm>
            <a:off x="72744" y="102679"/>
            <a:ext cx="4116359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b="1" dirty="0" smtClean="0">
                <a:solidFill>
                  <a:srgbClr val="7C91C8"/>
                </a:solidFill>
              </a:rPr>
              <a:t>DAS GYMNASIUM</a:t>
            </a:r>
            <a:endParaRPr lang="de-DE" b="1" dirty="0">
              <a:solidFill>
                <a:srgbClr val="7C91C8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77353" y="523777"/>
            <a:ext cx="262746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sz="1500" dirty="0" smtClean="0"/>
              <a:t>Das Ziel ist die Studierfähigkeit (Abitur)</a:t>
            </a:r>
            <a:endParaRPr lang="de-DE" sz="1500" dirty="0"/>
          </a:p>
        </p:txBody>
      </p:sp>
      <p:grpSp>
        <p:nvGrpSpPr>
          <p:cNvPr id="5" name="Gruppieren 4" hidden="1"/>
          <p:cNvGrpSpPr/>
          <p:nvPr/>
        </p:nvGrpSpPr>
        <p:grpSpPr>
          <a:xfrm>
            <a:off x="247423" y="441999"/>
            <a:ext cx="5657620" cy="3242632"/>
            <a:chOff x="247423" y="441999"/>
            <a:chExt cx="5657620" cy="3242632"/>
          </a:xfrm>
        </p:grpSpPr>
        <p:graphicFrame>
          <p:nvGraphicFramePr>
            <p:cNvPr id="74" name="Diagramm 73"/>
            <p:cNvGraphicFramePr/>
            <p:nvPr>
              <p:extLst>
                <p:ext uri="{D42A27DB-BD31-4B8C-83A1-F6EECF244321}">
                  <p14:modId xmlns:p14="http://schemas.microsoft.com/office/powerpoint/2010/main" val="897717927"/>
                </p:ext>
              </p:extLst>
            </p:nvPr>
          </p:nvGraphicFramePr>
          <p:xfrm>
            <a:off x="2372699" y="3453824"/>
            <a:ext cx="3086147" cy="23080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0" r:lo="rId21" r:qs="rId22" r:cs="rId23"/>
            </a:graphicData>
          </a:graphic>
        </p:graphicFrame>
        <p:graphicFrame>
          <p:nvGraphicFramePr>
            <p:cNvPr id="75" name="Diagramm 74"/>
            <p:cNvGraphicFramePr/>
            <p:nvPr>
              <p:extLst>
                <p:ext uri="{D42A27DB-BD31-4B8C-83A1-F6EECF244321}">
                  <p14:modId xmlns:p14="http://schemas.microsoft.com/office/powerpoint/2010/main" val="2208265758"/>
                </p:ext>
              </p:extLst>
            </p:nvPr>
          </p:nvGraphicFramePr>
          <p:xfrm>
            <a:off x="1076348" y="2727491"/>
            <a:ext cx="4147449" cy="22352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5" r:lo="rId26" r:qs="rId27" r:cs="rId28"/>
            </a:graphicData>
          </a:graphic>
        </p:graphicFrame>
        <p:graphicFrame>
          <p:nvGraphicFramePr>
            <p:cNvPr id="77" name="Diagramm 76"/>
            <p:cNvGraphicFramePr/>
            <p:nvPr>
              <p:extLst>
                <p:ext uri="{D42A27DB-BD31-4B8C-83A1-F6EECF244321}">
                  <p14:modId xmlns:p14="http://schemas.microsoft.com/office/powerpoint/2010/main" val="2889823680"/>
                </p:ext>
              </p:extLst>
            </p:nvPr>
          </p:nvGraphicFramePr>
          <p:xfrm>
            <a:off x="1634464" y="1691587"/>
            <a:ext cx="3305608" cy="28587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0" r:lo="rId31" r:qs="rId32" r:cs="rId33"/>
            </a:graphicData>
          </a:graphic>
        </p:graphicFrame>
        <p:graphicFrame>
          <p:nvGraphicFramePr>
            <p:cNvPr id="78" name="Diagramm 77"/>
            <p:cNvGraphicFramePr/>
            <p:nvPr>
              <p:extLst>
                <p:ext uri="{D42A27DB-BD31-4B8C-83A1-F6EECF244321}">
                  <p14:modId xmlns:p14="http://schemas.microsoft.com/office/powerpoint/2010/main" val="2993803897"/>
                </p:ext>
              </p:extLst>
            </p:nvPr>
          </p:nvGraphicFramePr>
          <p:xfrm>
            <a:off x="2917191" y="841022"/>
            <a:ext cx="1637778" cy="21253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5" r:lo="rId36" r:qs="rId37" r:cs="rId38"/>
            </a:graphicData>
          </a:graphic>
        </p:graphicFrame>
        <p:graphicFrame>
          <p:nvGraphicFramePr>
            <p:cNvPr id="79" name="Diagramm 78"/>
            <p:cNvGraphicFramePr/>
            <p:nvPr>
              <p:extLst>
                <p:ext uri="{D42A27DB-BD31-4B8C-83A1-F6EECF244321}">
                  <p14:modId xmlns:p14="http://schemas.microsoft.com/office/powerpoint/2010/main" val="3230559361"/>
                </p:ext>
              </p:extLst>
            </p:nvPr>
          </p:nvGraphicFramePr>
          <p:xfrm>
            <a:off x="952776" y="2074549"/>
            <a:ext cx="4744222" cy="52878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0" r:lo="rId41" r:qs="rId42" r:cs="rId43"/>
            </a:graphicData>
          </a:graphic>
        </p:graphicFrame>
        <p:graphicFrame>
          <p:nvGraphicFramePr>
            <p:cNvPr id="80" name="Diagramm 79"/>
            <p:cNvGraphicFramePr/>
            <p:nvPr>
              <p:extLst>
                <p:ext uri="{D42A27DB-BD31-4B8C-83A1-F6EECF244321}">
                  <p14:modId xmlns:p14="http://schemas.microsoft.com/office/powerpoint/2010/main" val="2147359783"/>
                </p:ext>
              </p:extLst>
            </p:nvPr>
          </p:nvGraphicFramePr>
          <p:xfrm>
            <a:off x="2107517" y="441999"/>
            <a:ext cx="2447452" cy="29482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5" r:lo="rId46" r:qs="rId47" r:cs="rId48"/>
            </a:graphicData>
          </a:graphic>
        </p:graphicFrame>
        <p:graphicFrame>
          <p:nvGraphicFramePr>
            <p:cNvPr id="81" name="Diagramm 80"/>
            <p:cNvGraphicFramePr/>
            <p:nvPr>
              <p:extLst>
                <p:ext uri="{D42A27DB-BD31-4B8C-83A1-F6EECF244321}">
                  <p14:modId xmlns:p14="http://schemas.microsoft.com/office/powerpoint/2010/main" val="2693831905"/>
                </p:ext>
              </p:extLst>
            </p:nvPr>
          </p:nvGraphicFramePr>
          <p:xfrm>
            <a:off x="247423" y="3072978"/>
            <a:ext cx="5657620" cy="25611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0" r:lo="rId51" r:qs="rId52" r:cs="rId53"/>
            </a:graphicData>
          </a:graphic>
        </p:graphicFrame>
        <p:graphicFrame>
          <p:nvGraphicFramePr>
            <p:cNvPr id="82" name="Diagramm 81"/>
            <p:cNvGraphicFramePr/>
            <p:nvPr>
              <p:extLst>
                <p:ext uri="{D42A27DB-BD31-4B8C-83A1-F6EECF244321}">
                  <p14:modId xmlns:p14="http://schemas.microsoft.com/office/powerpoint/2010/main" val="3434845985"/>
                </p:ext>
              </p:extLst>
            </p:nvPr>
          </p:nvGraphicFramePr>
          <p:xfrm>
            <a:off x="2443852" y="1174995"/>
            <a:ext cx="3008827" cy="42591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5" r:lo="rId56" r:qs="rId57" r:cs="rId58"/>
            </a:graphicData>
          </a:graphic>
        </p:graphicFrame>
      </p:grpSp>
      <p:graphicFrame>
        <p:nvGraphicFramePr>
          <p:cNvPr id="37" name="Diagramm 36"/>
          <p:cNvGraphicFramePr/>
          <p:nvPr>
            <p:extLst>
              <p:ext uri="{D42A27DB-BD31-4B8C-83A1-F6EECF244321}">
                <p14:modId xmlns:p14="http://schemas.microsoft.com/office/powerpoint/2010/main" val="3922185419"/>
              </p:ext>
            </p:extLst>
          </p:nvPr>
        </p:nvGraphicFramePr>
        <p:xfrm>
          <a:off x="2520000" y="2484000"/>
          <a:ext cx="4147449" cy="21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0" r:lo="rId61" r:qs="rId62" r:cs="rId63"/>
          </a:graphicData>
        </a:graphic>
      </p:graphicFrame>
      <p:graphicFrame>
        <p:nvGraphicFramePr>
          <p:cNvPr id="38" name="Diagramm 37"/>
          <p:cNvGraphicFramePr/>
          <p:nvPr>
            <p:extLst>
              <p:ext uri="{D42A27DB-BD31-4B8C-83A1-F6EECF244321}">
                <p14:modId xmlns:p14="http://schemas.microsoft.com/office/powerpoint/2010/main" val="104661332"/>
              </p:ext>
            </p:extLst>
          </p:nvPr>
        </p:nvGraphicFramePr>
        <p:xfrm>
          <a:off x="1872000" y="3636000"/>
          <a:ext cx="3600000" cy="21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5" r:lo="rId66" r:qs="rId67" r:cs="rId68"/>
          </a:graphicData>
        </a:graphic>
      </p:graphicFrame>
      <p:graphicFrame>
        <p:nvGraphicFramePr>
          <p:cNvPr id="41" name="Diagramm 40"/>
          <p:cNvGraphicFramePr/>
          <p:nvPr>
            <p:extLst>
              <p:ext uri="{D42A27DB-BD31-4B8C-83A1-F6EECF244321}">
                <p14:modId xmlns:p14="http://schemas.microsoft.com/office/powerpoint/2010/main" val="1971461692"/>
              </p:ext>
            </p:extLst>
          </p:nvPr>
        </p:nvGraphicFramePr>
        <p:xfrm>
          <a:off x="2798153" y="483518"/>
          <a:ext cx="1557823" cy="21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0" r:lo="rId71" r:qs="rId72" r:cs="rId73"/>
          </a:graphicData>
        </a:graphic>
      </p:graphicFrame>
      <p:graphicFrame>
        <p:nvGraphicFramePr>
          <p:cNvPr id="42" name="Diagramm 41"/>
          <p:cNvGraphicFramePr/>
          <p:nvPr>
            <p:extLst>
              <p:ext uri="{D42A27DB-BD31-4B8C-83A1-F6EECF244321}">
                <p14:modId xmlns:p14="http://schemas.microsoft.com/office/powerpoint/2010/main" val="4017963908"/>
              </p:ext>
            </p:extLst>
          </p:nvPr>
        </p:nvGraphicFramePr>
        <p:xfrm>
          <a:off x="1349006" y="1864717"/>
          <a:ext cx="4951186" cy="4568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5" r:lo="rId76" r:qs="rId77" r:cs="rId78"/>
          </a:graphicData>
        </a:graphic>
      </p:graphicFrame>
      <p:graphicFrame>
        <p:nvGraphicFramePr>
          <p:cNvPr id="43" name="Diagramm 42"/>
          <p:cNvGraphicFramePr/>
          <p:nvPr>
            <p:extLst>
              <p:ext uri="{D42A27DB-BD31-4B8C-83A1-F6EECF244321}">
                <p14:modId xmlns:p14="http://schemas.microsoft.com/office/powerpoint/2010/main" val="1749202743"/>
              </p:ext>
            </p:extLst>
          </p:nvPr>
        </p:nvGraphicFramePr>
        <p:xfrm>
          <a:off x="2158706" y="1441456"/>
          <a:ext cx="5738400" cy="21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0" r:lo="rId81" r:qs="rId82" r:cs="rId83"/>
          </a:graphicData>
        </a:graphic>
      </p:graphicFrame>
      <p:graphicFrame>
        <p:nvGraphicFramePr>
          <p:cNvPr id="44" name="Diagramm 43"/>
          <p:cNvGraphicFramePr/>
          <p:nvPr>
            <p:extLst>
              <p:ext uri="{D42A27DB-BD31-4B8C-83A1-F6EECF244321}">
                <p14:modId xmlns:p14="http://schemas.microsoft.com/office/powerpoint/2010/main" val="4060065650"/>
              </p:ext>
            </p:extLst>
          </p:nvPr>
        </p:nvGraphicFramePr>
        <p:xfrm>
          <a:off x="1368000" y="2880000"/>
          <a:ext cx="5657620" cy="21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5" r:lo="rId86" r:qs="rId87" r:cs="rId88"/>
          </a:graphicData>
        </a:graphic>
      </p:graphicFrame>
      <p:graphicFrame>
        <p:nvGraphicFramePr>
          <p:cNvPr id="45" name="Diagramm 44"/>
          <p:cNvGraphicFramePr/>
          <p:nvPr>
            <p:extLst>
              <p:ext uri="{D42A27DB-BD31-4B8C-83A1-F6EECF244321}">
                <p14:modId xmlns:p14="http://schemas.microsoft.com/office/powerpoint/2010/main" val="1595308930"/>
              </p:ext>
            </p:extLst>
          </p:nvPr>
        </p:nvGraphicFramePr>
        <p:xfrm>
          <a:off x="3059832" y="888221"/>
          <a:ext cx="3008826" cy="42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0" r:lo="rId91" r:qs="rId92" r:cs="rId93"/>
          </a:graphicData>
        </a:graphic>
      </p:graphicFrame>
      <p:graphicFrame>
        <p:nvGraphicFramePr>
          <p:cNvPr id="46" name="Diagramm 45"/>
          <p:cNvGraphicFramePr/>
          <p:nvPr>
            <p:extLst>
              <p:ext uri="{D42A27DB-BD31-4B8C-83A1-F6EECF244321}">
                <p14:modId xmlns:p14="http://schemas.microsoft.com/office/powerpoint/2010/main" val="578880490"/>
              </p:ext>
            </p:extLst>
          </p:nvPr>
        </p:nvGraphicFramePr>
        <p:xfrm>
          <a:off x="2016000" y="3240000"/>
          <a:ext cx="3598020" cy="21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5" r:lo="rId96" r:qs="rId97" r:cs="rId98"/>
          </a:graphicData>
        </a:graphic>
      </p:graphicFrame>
      <p:graphicFrame>
        <p:nvGraphicFramePr>
          <p:cNvPr id="66" name="Diagramm 65"/>
          <p:cNvGraphicFramePr/>
          <p:nvPr>
            <p:extLst>
              <p:ext uri="{D42A27DB-BD31-4B8C-83A1-F6EECF244321}">
                <p14:modId xmlns:p14="http://schemas.microsoft.com/office/powerpoint/2010/main" val="141480482"/>
              </p:ext>
            </p:extLst>
          </p:nvPr>
        </p:nvGraphicFramePr>
        <p:xfrm>
          <a:off x="2914810" y="658090"/>
          <a:ext cx="2389256" cy="2740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0" r:lo="rId101" r:qs="rId102" r:cs="rId103"/>
          </a:graphicData>
        </a:graphic>
      </p:graphicFrame>
      <p:graphicFrame>
        <p:nvGraphicFramePr>
          <p:cNvPr id="67" name="Diagramm 66"/>
          <p:cNvGraphicFramePr/>
          <p:nvPr>
            <p:extLst>
              <p:ext uri="{D42A27DB-BD31-4B8C-83A1-F6EECF244321}">
                <p14:modId xmlns:p14="http://schemas.microsoft.com/office/powerpoint/2010/main" val="773220366"/>
              </p:ext>
            </p:extLst>
          </p:nvPr>
        </p:nvGraphicFramePr>
        <p:xfrm>
          <a:off x="2450145" y="1075233"/>
          <a:ext cx="4271021" cy="287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5" r:lo="rId106" r:qs="rId107" r:cs="rId108"/>
          </a:graphicData>
        </a:graphic>
      </p:graphicFrame>
      <p:graphicFrame>
        <p:nvGraphicFramePr>
          <p:cNvPr id="71" name="Diagramm 70"/>
          <p:cNvGraphicFramePr/>
          <p:nvPr>
            <p:extLst>
              <p:ext uri="{D42A27DB-BD31-4B8C-83A1-F6EECF244321}">
                <p14:modId xmlns:p14="http://schemas.microsoft.com/office/powerpoint/2010/main" val="23722245"/>
              </p:ext>
            </p:extLst>
          </p:nvPr>
        </p:nvGraphicFramePr>
        <p:xfrm>
          <a:off x="3128588" y="1506014"/>
          <a:ext cx="2861183" cy="4490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0" r:lo="rId111" r:qs="rId112" r:cs="rId113"/>
          </a:graphicData>
        </a:graphic>
      </p:graphicFrame>
      <p:graphicFrame>
        <p:nvGraphicFramePr>
          <p:cNvPr id="68" name="Diagramm 67"/>
          <p:cNvGraphicFramePr/>
          <p:nvPr>
            <p:extLst>
              <p:ext uri="{D42A27DB-BD31-4B8C-83A1-F6EECF244321}">
                <p14:modId xmlns:p14="http://schemas.microsoft.com/office/powerpoint/2010/main" val="2653968414"/>
              </p:ext>
            </p:extLst>
          </p:nvPr>
        </p:nvGraphicFramePr>
        <p:xfrm>
          <a:off x="2255344" y="2098204"/>
          <a:ext cx="3072844" cy="2561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5" r:lo="rId116" r:qs="rId117" r:cs="rId118"/>
          </a:graphicData>
        </a:graphic>
      </p:graphicFrame>
      <p:graphicFrame>
        <p:nvGraphicFramePr>
          <p:cNvPr id="65" name="Diagramm 64"/>
          <p:cNvGraphicFramePr/>
          <p:nvPr>
            <p:extLst>
              <p:ext uri="{D42A27DB-BD31-4B8C-83A1-F6EECF244321}">
                <p14:modId xmlns:p14="http://schemas.microsoft.com/office/powerpoint/2010/main" val="224438146"/>
              </p:ext>
            </p:extLst>
          </p:nvPr>
        </p:nvGraphicFramePr>
        <p:xfrm>
          <a:off x="928714" y="2497453"/>
          <a:ext cx="3721868" cy="2858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0" r:lo="rId121" r:qs="rId122" r:cs="rId123"/>
          </a:graphicData>
        </a:graphic>
      </p:graphicFrame>
      <p:graphicFrame>
        <p:nvGraphicFramePr>
          <p:cNvPr id="63" name="Diagramm 62"/>
          <p:cNvGraphicFramePr/>
          <p:nvPr>
            <p:extLst>
              <p:ext uri="{D42A27DB-BD31-4B8C-83A1-F6EECF244321}">
                <p14:modId xmlns:p14="http://schemas.microsoft.com/office/powerpoint/2010/main" val="1142422511"/>
              </p:ext>
            </p:extLst>
          </p:nvPr>
        </p:nvGraphicFramePr>
        <p:xfrm>
          <a:off x="1382839" y="2926457"/>
          <a:ext cx="2901129" cy="2308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5" r:lo="rId126" r:qs="rId127" r:cs="rId128"/>
          </a:graphicData>
        </a:graphic>
      </p:graphicFrame>
    </p:spTree>
    <p:extLst>
      <p:ext uri="{BB962C8B-B14F-4D97-AF65-F5344CB8AC3E}">
        <p14:creationId xmlns:p14="http://schemas.microsoft.com/office/powerpoint/2010/main" val="277823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1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1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4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2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2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2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2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xit" presetSubtype="4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2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2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" presetClass="exit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2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" presetClass="exit" presetSubtype="4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2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200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2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2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" presetClass="exit" presetSubtype="4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4" dur="200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200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2" presetClass="exit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2" presetClass="exit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5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3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1" nodeType="withEffect">
                                  <p:stCondLst>
                                    <p:cond delay="6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4" presetClass="entr" presetSubtype="1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4" presetClass="exit" presetSubtype="1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6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4" presetClass="entr" presetSubtype="1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4" presetClass="entr" presetSubtype="1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4" presetClass="entr" presetSubtype="1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4" presetClass="entr" presetSubtype="1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4" presetClass="entr" presetSubtype="1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4" grpId="0">
        <p:bldAsOne/>
      </p:bldGraphic>
      <p:bldP spid="58" grpId="0"/>
      <p:bldP spid="58" grpId="1"/>
      <p:bldP spid="59" grpId="0"/>
      <p:bldP spid="59" grpId="1"/>
      <p:bldP spid="72" grpId="0"/>
      <p:bldP spid="72" grpId="1"/>
      <p:bldP spid="73" grpId="0"/>
      <p:bldP spid="73" grpId="1"/>
      <p:bldGraphic spid="37" grpId="0">
        <p:bldAsOne/>
      </p:bldGraphic>
      <p:bldGraphic spid="38" grpId="0">
        <p:bldAsOne/>
      </p:bldGraphic>
      <p:bldGraphic spid="41" grpId="0">
        <p:bldAsOne/>
      </p:bldGraphic>
      <p:bldGraphic spid="42" grpId="0">
        <p:bldAsOne/>
      </p:bldGraphic>
      <p:bldGraphic spid="43" grpId="0">
        <p:bldAsOne/>
      </p:bldGraphic>
      <p:bldGraphic spid="44" grpId="0">
        <p:bldAsOne/>
      </p:bldGraphic>
      <p:bldGraphic spid="45" grpId="0">
        <p:bldAsOne/>
      </p:bldGraphic>
      <p:bldGraphic spid="46" grpId="0">
        <p:bldAsOne/>
      </p:bldGraphic>
      <p:bldGraphic spid="66" grpId="0">
        <p:bldAsOne/>
      </p:bldGraphic>
      <p:bldGraphic spid="67" grpId="0">
        <p:bldAsOne/>
      </p:bldGraphic>
      <p:bldGraphic spid="71" grpId="0">
        <p:bldAsOne/>
      </p:bldGraphic>
      <p:bldGraphic spid="68" grpId="0">
        <p:bldAsOne/>
      </p:bldGraphic>
      <p:bldGraphic spid="65" grpId="0">
        <p:bldAsOne/>
      </p:bldGraphic>
      <p:bldGraphic spid="63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3164" y="1077775"/>
            <a:ext cx="5760000" cy="2412720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>
          <a:xfrm>
            <a:off x="1982093" y="4295257"/>
            <a:ext cx="360000" cy="360000"/>
          </a:xfrm>
        </p:spPr>
        <p:txBody>
          <a:bodyPr/>
          <a:lstStyle/>
          <a:p>
            <a:r>
              <a:rPr lang="de-DE" sz="1800" dirty="0" smtClean="0"/>
              <a:t>4</a:t>
            </a:r>
            <a:endParaRPr lang="de-DE" sz="180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>
          <a:xfrm>
            <a:off x="2450145" y="4352147"/>
            <a:ext cx="6438102" cy="246221"/>
          </a:xfrm>
        </p:spPr>
        <p:txBody>
          <a:bodyPr/>
          <a:lstStyle/>
          <a:p>
            <a:r>
              <a:rPr lang="de-DE" dirty="0" smtClean="0">
                <a:solidFill>
                  <a:schemeClr val="bg1"/>
                </a:solidFill>
              </a:rPr>
              <a:t>Die Schulformen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1440" y="-94822"/>
            <a:ext cx="2413636" cy="1499957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5641" y="248847"/>
            <a:ext cx="2410985" cy="1080000"/>
          </a:xfrm>
          <a:prstGeom prst="rect">
            <a:avLst/>
          </a:prstGeom>
        </p:spPr>
      </p:pic>
      <p:graphicFrame>
        <p:nvGraphicFramePr>
          <p:cNvPr id="60" name="Diagramm 59"/>
          <p:cNvGraphicFramePr/>
          <p:nvPr>
            <p:extLst>
              <p:ext uri="{D42A27DB-BD31-4B8C-83A1-F6EECF244321}">
                <p14:modId xmlns:p14="http://schemas.microsoft.com/office/powerpoint/2010/main" val="1084123686"/>
              </p:ext>
            </p:extLst>
          </p:nvPr>
        </p:nvGraphicFramePr>
        <p:xfrm>
          <a:off x="1076348" y="2727491"/>
          <a:ext cx="4147449" cy="223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61" name="Diagramm 60"/>
          <p:cNvGraphicFramePr/>
          <p:nvPr>
            <p:extLst>
              <p:ext uri="{D42A27DB-BD31-4B8C-83A1-F6EECF244321}">
                <p14:modId xmlns:p14="http://schemas.microsoft.com/office/powerpoint/2010/main" val="2367893183"/>
              </p:ext>
            </p:extLst>
          </p:nvPr>
        </p:nvGraphicFramePr>
        <p:xfrm>
          <a:off x="1634464" y="1691587"/>
          <a:ext cx="3305608" cy="2858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62" name="Diagramm 61"/>
          <p:cNvGraphicFramePr/>
          <p:nvPr>
            <p:extLst>
              <p:ext uri="{D42A27DB-BD31-4B8C-83A1-F6EECF244321}">
                <p14:modId xmlns:p14="http://schemas.microsoft.com/office/powerpoint/2010/main" val="2824896037"/>
              </p:ext>
            </p:extLst>
          </p:nvPr>
        </p:nvGraphicFramePr>
        <p:xfrm>
          <a:off x="247423" y="3072978"/>
          <a:ext cx="5657620" cy="2561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72744" y="102679"/>
            <a:ext cx="4116359" cy="975096"/>
            <a:chOff x="72744" y="102679"/>
            <a:chExt cx="4116359" cy="975096"/>
          </a:xfrm>
        </p:grpSpPr>
        <p:sp>
          <p:nvSpPr>
            <p:cNvPr id="72" name="Titel 3"/>
            <p:cNvSpPr txBox="1">
              <a:spLocks/>
            </p:cNvSpPr>
            <p:nvPr/>
          </p:nvSpPr>
          <p:spPr>
            <a:xfrm>
              <a:off x="72744" y="102679"/>
              <a:ext cx="4116359" cy="360099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600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de-DE" b="1" dirty="0" smtClean="0">
                  <a:solidFill>
                    <a:srgbClr val="7C91C8"/>
                  </a:solidFill>
                </a:rPr>
                <a:t>DAS GYMNASIUM</a:t>
              </a:r>
              <a:endParaRPr lang="de-DE" b="1" dirty="0">
                <a:solidFill>
                  <a:srgbClr val="7C91C8"/>
                </a:solidFill>
              </a:endParaRPr>
            </a:p>
          </p:txBody>
        </p:sp>
        <p:sp>
          <p:nvSpPr>
            <p:cNvPr id="73" name="Rechteck 72"/>
            <p:cNvSpPr/>
            <p:nvPr/>
          </p:nvSpPr>
          <p:spPr>
            <a:xfrm>
              <a:off x="77353" y="523777"/>
              <a:ext cx="2627465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de-DE" sz="1500" dirty="0" smtClean="0"/>
                <a:t>Das Ziel ist die Studierfähigkeit (Abitur)</a:t>
              </a:r>
              <a:endParaRPr lang="de-DE" sz="1500" dirty="0"/>
            </a:p>
          </p:txBody>
        </p:sp>
      </p:grpSp>
      <p:graphicFrame>
        <p:nvGraphicFramePr>
          <p:cNvPr id="28" name="Diagramm 27"/>
          <p:cNvGraphicFramePr/>
          <p:nvPr>
            <p:extLst>
              <p:ext uri="{D42A27DB-BD31-4B8C-83A1-F6EECF244321}">
                <p14:modId xmlns:p14="http://schemas.microsoft.com/office/powerpoint/2010/main" val="1121163985"/>
              </p:ext>
            </p:extLst>
          </p:nvPr>
        </p:nvGraphicFramePr>
        <p:xfrm>
          <a:off x="1382839" y="2926605"/>
          <a:ext cx="2901600" cy="2308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  <p:graphicFrame>
        <p:nvGraphicFramePr>
          <p:cNvPr id="29" name="Diagramm 28"/>
          <p:cNvGraphicFramePr/>
          <p:nvPr>
            <p:extLst>
              <p:ext uri="{D42A27DB-BD31-4B8C-83A1-F6EECF244321}">
                <p14:modId xmlns:p14="http://schemas.microsoft.com/office/powerpoint/2010/main" val="1696686523"/>
              </p:ext>
            </p:extLst>
          </p:nvPr>
        </p:nvGraphicFramePr>
        <p:xfrm>
          <a:off x="1437841" y="3300395"/>
          <a:ext cx="5990500" cy="3476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6" r:lo="rId27" r:qs="rId28" r:cs="rId29"/>
          </a:graphicData>
        </a:graphic>
      </p:graphicFrame>
      <p:graphicFrame>
        <p:nvGraphicFramePr>
          <p:cNvPr id="30" name="Diagramm 29"/>
          <p:cNvGraphicFramePr/>
          <p:nvPr>
            <p:extLst>
              <p:ext uri="{D42A27DB-BD31-4B8C-83A1-F6EECF244321}">
                <p14:modId xmlns:p14="http://schemas.microsoft.com/office/powerpoint/2010/main" val="2625799731"/>
              </p:ext>
            </p:extLst>
          </p:nvPr>
        </p:nvGraphicFramePr>
        <p:xfrm>
          <a:off x="928714" y="2497750"/>
          <a:ext cx="3721867" cy="2858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1" r:lo="rId32" r:qs="rId33" r:cs="rId34"/>
          </a:graphicData>
        </a:graphic>
      </p:graphicFrame>
      <p:graphicFrame>
        <p:nvGraphicFramePr>
          <p:cNvPr id="31" name="Diagramm 30"/>
          <p:cNvGraphicFramePr/>
          <p:nvPr>
            <p:extLst>
              <p:ext uri="{D42A27DB-BD31-4B8C-83A1-F6EECF244321}">
                <p14:modId xmlns:p14="http://schemas.microsoft.com/office/powerpoint/2010/main" val="3347822233"/>
              </p:ext>
            </p:extLst>
          </p:nvPr>
        </p:nvGraphicFramePr>
        <p:xfrm>
          <a:off x="2914929" y="658983"/>
          <a:ext cx="2389256" cy="2740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6" r:lo="rId37" r:qs="rId38" r:cs="rId39"/>
          </a:graphicData>
        </a:graphic>
      </p:graphicFrame>
      <p:graphicFrame>
        <p:nvGraphicFramePr>
          <p:cNvPr id="32" name="Diagramm 31"/>
          <p:cNvGraphicFramePr/>
          <p:nvPr>
            <p:extLst>
              <p:ext uri="{D42A27DB-BD31-4B8C-83A1-F6EECF244321}">
                <p14:modId xmlns:p14="http://schemas.microsoft.com/office/powerpoint/2010/main" val="3723833911"/>
              </p:ext>
            </p:extLst>
          </p:nvPr>
        </p:nvGraphicFramePr>
        <p:xfrm>
          <a:off x="2450145" y="1075977"/>
          <a:ext cx="4271021" cy="287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1" r:lo="rId42" r:qs="rId43" r:cs="rId44"/>
          </a:graphicData>
        </a:graphic>
      </p:graphicFrame>
      <p:graphicFrame>
        <p:nvGraphicFramePr>
          <p:cNvPr id="33" name="Diagramm 32"/>
          <p:cNvGraphicFramePr/>
          <p:nvPr>
            <p:extLst>
              <p:ext uri="{D42A27DB-BD31-4B8C-83A1-F6EECF244321}">
                <p14:modId xmlns:p14="http://schemas.microsoft.com/office/powerpoint/2010/main" val="3693130242"/>
              </p:ext>
            </p:extLst>
          </p:nvPr>
        </p:nvGraphicFramePr>
        <p:xfrm>
          <a:off x="2255344" y="2098650"/>
          <a:ext cx="3072844" cy="2561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6" r:lo="rId47" r:qs="rId48" r:cs="rId49"/>
          </a:graphicData>
        </a:graphic>
      </p:graphicFrame>
      <p:graphicFrame>
        <p:nvGraphicFramePr>
          <p:cNvPr id="34" name="Diagramm 33"/>
          <p:cNvGraphicFramePr/>
          <p:nvPr>
            <p:extLst>
              <p:ext uri="{D42A27DB-BD31-4B8C-83A1-F6EECF244321}">
                <p14:modId xmlns:p14="http://schemas.microsoft.com/office/powerpoint/2010/main" val="2131900594"/>
              </p:ext>
            </p:extLst>
          </p:nvPr>
        </p:nvGraphicFramePr>
        <p:xfrm>
          <a:off x="3128588" y="1506609"/>
          <a:ext cx="2861183" cy="4490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1" r:lo="rId52" r:qs="rId53" r:cs="rId54"/>
          </a:graphicData>
        </a:graphic>
      </p:graphicFrame>
      <p:sp>
        <p:nvSpPr>
          <p:cNvPr id="36" name="Titel 3"/>
          <p:cNvSpPr txBox="1">
            <a:spLocks/>
          </p:cNvSpPr>
          <p:nvPr/>
        </p:nvSpPr>
        <p:spPr>
          <a:xfrm>
            <a:off x="1513994" y="110108"/>
            <a:ext cx="8529485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>
                <a:solidFill>
                  <a:srgbClr val="AAC686"/>
                </a:solidFill>
              </a:rPr>
              <a:t>Organisation der Oberstufe</a:t>
            </a:r>
            <a:endParaRPr lang="de-DE" dirty="0">
              <a:solidFill>
                <a:srgbClr val="AAC6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373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2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2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2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2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4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2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2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xit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200"/>
                                        <p:tgtEl>
                                          <p:spTgt spid="31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200"/>
                                        <p:tgtEl>
                                          <p:spTgt spid="31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1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" presetClass="exit" presetSubtype="4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200"/>
                                        <p:tgtEl>
                                          <p:spTgt spid="32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00"/>
                                        <p:tgtEl>
                                          <p:spTgt spid="32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2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" presetClass="exit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200"/>
                                        <p:tgtEl>
                                          <p:spTgt spid="34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200"/>
                                        <p:tgtEl>
                                          <p:spTgt spid="34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4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" presetClass="exit" presetSubtype="4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200"/>
                                        <p:tgtEl>
                                          <p:spTgt spid="33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200"/>
                                        <p:tgtEl>
                                          <p:spTgt spid="33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3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" presetClass="exit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4" dur="200"/>
                                        <p:tgtEl>
                                          <p:spTgt spid="30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200"/>
                                        <p:tgtEl>
                                          <p:spTgt spid="30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30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2" presetClass="exit" presetSubtype="4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8" dur="200"/>
                                        <p:tgtEl>
                                          <p:spTgt spid="28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200"/>
                                        <p:tgtEl>
                                          <p:spTgt spid="28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28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2" dur="200"/>
                                        <p:tgtEl>
                                          <p:spTgt spid="29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200"/>
                                        <p:tgtEl>
                                          <p:spTgt spid="29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199"/>
                                          </p:stCondLst>
                                        </p:cTn>
                                        <p:tgtEl>
                                          <p:spTgt spid="29">
                                            <p:graphicEl>
                                              <a:dgm id="{5C44AA69-D049-4B71-AE2C-A2059F01FF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4" presetClass="entr" presetSubtype="1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" presetClass="entr" presetSubtype="8" fill="hold" grpId="0" nodeType="withEffect">
                                  <p:stCondLst>
                                    <p:cond delay="1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4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4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xit" presetSubtype="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3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3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0" grpId="0">
        <p:bldAsOne/>
      </p:bldGraphic>
      <p:bldGraphic spid="61" grpId="0">
        <p:bldAsOne/>
      </p:bldGraphic>
      <p:bldGraphic spid="62" grpId="0">
        <p:bldAsOne/>
      </p:bldGraphic>
      <p:bldGraphic spid="28" grpId="0">
        <p:bldSub>
          <a:bldDgm/>
        </p:bldSub>
      </p:bldGraphic>
      <p:bldGraphic spid="29" grpId="0">
        <p:bldSub>
          <a:bldDgm/>
        </p:bldSub>
      </p:bldGraphic>
      <p:bldGraphic spid="30" grpId="0">
        <p:bldSub>
          <a:bldDgm/>
        </p:bldSub>
      </p:bldGraphic>
      <p:bldGraphic spid="31" grpId="0">
        <p:bldSub>
          <a:bldDgm/>
        </p:bldSub>
      </p:bldGraphic>
      <p:bldGraphic spid="32" grpId="0">
        <p:bldSub>
          <a:bldDgm/>
        </p:bldSub>
      </p:bldGraphic>
      <p:bldGraphic spid="33" grpId="0">
        <p:bldSub>
          <a:bldDgm/>
        </p:bldSub>
      </p:bldGraphic>
      <p:bldGraphic spid="34" grpId="0">
        <p:bldSub>
          <a:bldDgm/>
        </p:bldSub>
      </p:bldGraphic>
      <p:bldP spid="3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anuar 2017_Hamburg_Vorlage_16_9">
  <a:themeElements>
    <a:clrScheme name="Hamburg Marketing New">
      <a:dk1>
        <a:sysClr val="windowText" lastClr="000000"/>
      </a:dk1>
      <a:lt1>
        <a:sysClr val="window" lastClr="FFFFFF"/>
      </a:lt1>
      <a:dk2>
        <a:srgbClr val="40648A"/>
      </a:dk2>
      <a:lt2>
        <a:srgbClr val="E3E3E3"/>
      </a:lt2>
      <a:accent1>
        <a:srgbClr val="003063"/>
      </a:accent1>
      <a:accent2>
        <a:srgbClr val="BFD6E9"/>
      </a:accent2>
      <a:accent3>
        <a:srgbClr val="005CA9"/>
      </a:accent3>
      <a:accent4>
        <a:srgbClr val="4B4B4B"/>
      </a:accent4>
      <a:accent5>
        <a:srgbClr val="818181"/>
      </a:accent5>
      <a:accent6>
        <a:srgbClr val="B9B9B9"/>
      </a:accent6>
      <a:hlink>
        <a:srgbClr val="003063"/>
      </a:hlink>
      <a:folHlink>
        <a:srgbClr val="E10019"/>
      </a:folHlink>
    </a:clrScheme>
    <a:fontScheme name="Umzugsauk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marL="270000" indent="-270000" algn="ctr">
          <a:spcBef>
            <a:spcPts val="400"/>
          </a:spcBef>
          <a:buClr>
            <a:schemeClr val="bg1"/>
          </a:buClr>
          <a:buSzPct val="150000"/>
          <a:buFont typeface="Arial" pitchFamily="34" charset="0"/>
          <a:buChar char="•"/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270000" indent="-270000">
          <a:spcBef>
            <a:spcPts val="400"/>
          </a:spcBef>
          <a:buClr>
            <a:schemeClr val="accent1"/>
          </a:buClr>
          <a:buSzPct val="150000"/>
          <a:buFont typeface="Arial" pitchFamily="34" charset="0"/>
          <a:buChar char="•"/>
          <a:defRPr sz="1600" dirty="0" err="1" smtClean="0"/>
        </a:defPPr>
      </a:lstStyle>
    </a:txDef>
  </a:objectDefaults>
  <a:extraClrSchemeLst/>
  <a:custClrLst>
    <a:custClr>
      <a:srgbClr val="7F97CB"/>
    </a:custClr>
    <a:custClr>
      <a:srgbClr val="BFCBD8"/>
    </a:custClr>
    <a:custClr>
      <a:srgbClr val="4085BF"/>
    </a:custClr>
    <a:custClr>
      <a:srgbClr val="7FADD4"/>
    </a:custClr>
    <a:custClr>
      <a:srgbClr val="E10019"/>
    </a:custClr>
  </a:custClrLst>
  <a:extLst>
    <a:ext uri="{05A4C25C-085E-4340-85A3-A5531E510DB2}">
      <thm15:themeFamily xmlns:thm15="http://schemas.microsoft.com/office/thememl/2012/main" name="Premium_Vorlage_16_9_scr08.potx" id="{D13CBCE7-D1D4-49BA-BC81-260005A22496}" vid="{E5608A00-EC46-4C38-A7E6-87C72E8D424C}"/>
    </a:ext>
  </a:extLst>
</a:theme>
</file>

<file path=ppt/theme/theme2.xml><?xml version="1.0" encoding="utf-8"?>
<a:theme xmlns:a="http://schemas.openxmlformats.org/drawingml/2006/main" name="Tite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anuar 2017_Hamburg_Vorlage_16_9</Template>
  <TotalTime>0</TotalTime>
  <Words>1205</Words>
  <Application>Microsoft Office PowerPoint</Application>
  <PresentationFormat>Bildschirmpräsentation (16:9)</PresentationFormat>
  <Paragraphs>275</Paragraphs>
  <Slides>17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3" baseType="lpstr">
      <vt:lpstr>Arial</vt:lpstr>
      <vt:lpstr>Calibri</vt:lpstr>
      <vt:lpstr>HamburgSans</vt:lpstr>
      <vt:lpstr>Januar 2017_Hamburg_Vorlage_16_9</vt:lpstr>
      <vt:lpstr>Titel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>Vorname Nachname</Manager>
  <Company>.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remium Vorlage</dc:subject>
  <dc:creator>Saffian, Katrin</dc:creator>
  <dc:description>Für die PowerPoint Version 2010 optimierte Vorlage</dc:description>
  <cp:lastModifiedBy>Cornelia Schroeder</cp:lastModifiedBy>
  <cp:revision>668</cp:revision>
  <cp:lastPrinted>2019-08-16T07:03:21Z</cp:lastPrinted>
  <dcterms:created xsi:type="dcterms:W3CDTF">2018-04-30T12:46:32Z</dcterms:created>
  <dcterms:modified xsi:type="dcterms:W3CDTF">2021-11-04T14:39:37Z</dcterms:modified>
</cp:coreProperties>
</file>